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49" r:id="rId1"/>
  </p:sldMasterIdLst>
  <p:notesMasterIdLst>
    <p:notesMasterId r:id="rId16"/>
  </p:notesMasterIdLst>
  <p:handoutMasterIdLst>
    <p:handoutMasterId r:id="rId17"/>
  </p:handoutMasterIdLst>
  <p:sldIdLst>
    <p:sldId id="256" r:id="rId2"/>
    <p:sldId id="268" r:id="rId3"/>
    <p:sldId id="270" r:id="rId4"/>
    <p:sldId id="267" r:id="rId5"/>
    <p:sldId id="259" r:id="rId6"/>
    <p:sldId id="271" r:id="rId7"/>
    <p:sldId id="260" r:id="rId8"/>
    <p:sldId id="272" r:id="rId9"/>
    <p:sldId id="261" r:id="rId10"/>
    <p:sldId id="263" r:id="rId11"/>
    <p:sldId id="264" r:id="rId12"/>
    <p:sldId id="273" r:id="rId13"/>
    <p:sldId id="265" r:id="rId14"/>
    <p:sldId id="262" r:id="rId15"/>
  </p:sldIdLst>
  <p:sldSz cx="10080625" cy="7561263"/>
  <p:notesSz cx="7099300" cy="10234613"/>
  <p:custDataLst>
    <p:tags r:id="rId18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5pPr>
    <a:lvl6pPr marL="2286000" algn="l" defTabSz="914400" rtl="0" eaLnBrk="1" latinLnBrk="0" hangingPunct="1"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6pPr>
    <a:lvl7pPr marL="2743200" algn="l" defTabSz="914400" rtl="0" eaLnBrk="1" latinLnBrk="0" hangingPunct="1"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7pPr>
    <a:lvl8pPr marL="3200400" algn="l" defTabSz="914400" rtl="0" eaLnBrk="1" latinLnBrk="0" hangingPunct="1"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8pPr>
    <a:lvl9pPr marL="3657600" algn="l" defTabSz="914400" rtl="0" eaLnBrk="1" latinLnBrk="0" hangingPunct="1">
      <a:defRPr sz="2600" kern="1200" baseline="-250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2">
          <p15:clr>
            <a:srgbClr val="A4A3A4"/>
          </p15:clr>
        </p15:guide>
        <p15:guide id="2" pos="317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0080"/>
    <a:srgbClr val="0600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1348" autoAdjust="0"/>
    <p:restoredTop sz="94660" autoAdjust="0"/>
  </p:normalViewPr>
  <p:slideViewPr>
    <p:cSldViewPr>
      <p:cViewPr varScale="1">
        <p:scale>
          <a:sx n="92" d="100"/>
          <a:sy n="92" d="100"/>
        </p:scale>
        <p:origin x="184" y="2448"/>
      </p:cViewPr>
      <p:guideLst>
        <p:guide orient="horz" pos="2382"/>
        <p:guide pos="3175"/>
      </p:guideLst>
    </p:cSldViewPr>
  </p:slideViewPr>
  <p:outlineViewPr>
    <p:cViewPr>
      <p:scale>
        <a:sx n="33" d="100"/>
        <a:sy n="33" d="100"/>
      </p:scale>
      <p:origin x="0" y="643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mengxiangyuan/Desktop/DL_Lab/Abgabe/&#21160;&#24577;&#21160;&#20316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/>
              <a:t>Accuracy</a:t>
            </a:r>
            <a:r>
              <a:rPr lang="en-US" altLang="zh-CN" sz="1400" b="0" i="0" u="none" strike="noStrike" baseline="0">
                <a:effectLst/>
              </a:rPr>
              <a:t>(%)</a:t>
            </a:r>
            <a:r>
              <a:rPr lang="en-US" altLang="zh-CN" sz="1400" b="0" i="0" u="none" strike="noStrike" baseline="0"/>
              <a:t> </a:t>
            </a:r>
            <a:r>
              <a:rPr lang="en-US" altLang="zh-CN"/>
              <a:t> of GRU</a:t>
            </a:r>
            <a:r>
              <a:rPr lang="zh-CN" altLang="en-US"/>
              <a:t> </a:t>
            </a:r>
            <a:r>
              <a:rPr lang="de-DE" altLang="zh-CN"/>
              <a:t>on</a:t>
            </a:r>
            <a:r>
              <a:rPr lang="de-DE" altLang="zh-CN" baseline="0"/>
              <a:t> HAPT test set</a:t>
            </a:r>
            <a:endParaRPr lang="en-US" altLang="zh-CN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Accuracy rate (%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B$1:$M$1</c:f>
              <c:strCache>
                <c:ptCount val="12"/>
                <c:pt idx="0">
                  <c:v>walking</c:v>
                </c:pt>
                <c:pt idx="1">
                  <c:v>walking-upstairs</c:v>
                </c:pt>
                <c:pt idx="2">
                  <c:v>walking-downstairs</c:v>
                </c:pt>
                <c:pt idx="3">
                  <c:v>sitting</c:v>
                </c:pt>
                <c:pt idx="4">
                  <c:v>standing</c:v>
                </c:pt>
                <c:pt idx="5">
                  <c:v>laying</c:v>
                </c:pt>
                <c:pt idx="6">
                  <c:v>stand-sit</c:v>
                </c:pt>
                <c:pt idx="7">
                  <c:v>sit-stand</c:v>
                </c:pt>
                <c:pt idx="8">
                  <c:v>sit-lie</c:v>
                </c:pt>
                <c:pt idx="9">
                  <c:v>lie-sit</c:v>
                </c:pt>
                <c:pt idx="10">
                  <c:v>stand-lie</c:v>
                </c:pt>
                <c:pt idx="11">
                  <c:v>lie-stand</c:v>
                </c:pt>
              </c:strCache>
            </c:strRef>
          </c:cat>
          <c:val>
            <c:numRef>
              <c:f>Tabelle1!$B$2:$M$2</c:f>
              <c:numCache>
                <c:formatCode>0.0%</c:formatCode>
                <c:ptCount val="12"/>
                <c:pt idx="0">
                  <c:v>0.99</c:v>
                </c:pt>
                <c:pt idx="1">
                  <c:v>1</c:v>
                </c:pt>
                <c:pt idx="2">
                  <c:v>1</c:v>
                </c:pt>
                <c:pt idx="3">
                  <c:v>0.95</c:v>
                </c:pt>
                <c:pt idx="4">
                  <c:v>0.98</c:v>
                </c:pt>
                <c:pt idx="5">
                  <c:v>1</c:v>
                </c:pt>
                <c:pt idx="6" formatCode="0%">
                  <c:v>0.84</c:v>
                </c:pt>
                <c:pt idx="7" formatCode="0%">
                  <c:v>0.78</c:v>
                </c:pt>
                <c:pt idx="8" formatCode="0%">
                  <c:v>0.48</c:v>
                </c:pt>
                <c:pt idx="9" formatCode="0%">
                  <c:v>0.9</c:v>
                </c:pt>
                <c:pt idx="10" formatCode="0%">
                  <c:v>0.91</c:v>
                </c:pt>
                <c:pt idx="11" formatCode="0%">
                  <c:v>0.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B4-D44A-8D57-6EE76DAD7F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27217599"/>
        <c:axId val="1927081935"/>
      </c:barChart>
      <c:catAx>
        <c:axId val="19272175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927081935"/>
        <c:crosses val="autoZero"/>
        <c:auto val="1"/>
        <c:lblAlgn val="ctr"/>
        <c:lblOffset val="100"/>
        <c:noMultiLvlLbl val="0"/>
      </c:catAx>
      <c:valAx>
        <c:axId val="192708193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9272175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291AFB2-99F4-744D-AED2-C38778982BDE}" type="doc">
      <dgm:prSet loTypeId="urn:microsoft.com/office/officeart/2005/8/layout/process4" loCatId="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zh-CN" altLang="en-US"/>
        </a:p>
      </dgm:t>
    </dgm:pt>
    <dgm:pt modelId="{E0D01C91-BE30-2743-86D1-81FE17C208C4}">
      <dgm:prSet phldrT="[文本]" custT="1"/>
      <dgm:spPr/>
      <dgm:t>
        <a:bodyPr/>
        <a:lstStyle/>
        <a:p>
          <a:r>
            <a:rPr lang="en-US" altLang="zh-CN" sz="1600" dirty="0"/>
            <a:t>lstm_1 </a:t>
          </a:r>
          <a:r>
            <a:rPr lang="de-DE" altLang="zh-CN" sz="1600" dirty="0"/>
            <a:t>(Units=32, Dropout=0,3)</a:t>
          </a:r>
          <a:endParaRPr lang="zh-CN" altLang="en-US" sz="1600" dirty="0"/>
        </a:p>
      </dgm:t>
    </dgm:pt>
    <dgm:pt modelId="{E350DE74-F585-B640-9DEB-07C2CE5EF430}" type="parTrans" cxnId="{B24A5627-00F6-524B-AC96-09C4ED749A72}">
      <dgm:prSet/>
      <dgm:spPr/>
      <dgm:t>
        <a:bodyPr/>
        <a:lstStyle/>
        <a:p>
          <a:endParaRPr lang="zh-CN" altLang="en-US"/>
        </a:p>
      </dgm:t>
    </dgm:pt>
    <dgm:pt modelId="{4E97798E-8A19-C443-AB54-07331D6D2C29}" type="sibTrans" cxnId="{B24A5627-00F6-524B-AC96-09C4ED749A72}">
      <dgm:prSet/>
      <dgm:spPr/>
      <dgm:t>
        <a:bodyPr/>
        <a:lstStyle/>
        <a:p>
          <a:endParaRPr lang="zh-CN" altLang="en-US"/>
        </a:p>
      </dgm:t>
    </dgm:pt>
    <dgm:pt modelId="{C2D79976-A391-B343-84D9-24C7C7A229BC}">
      <dgm:prSet phldrT="[文本]" custT="1"/>
      <dgm:spPr/>
      <dgm:t>
        <a:bodyPr/>
        <a:lstStyle/>
        <a:p>
          <a:r>
            <a:rPr lang="de-DE" altLang="zh-CN" sz="1600" dirty="0"/>
            <a:t>250 X 32</a:t>
          </a:r>
          <a:endParaRPr lang="zh-CN" altLang="en-US" sz="1600" dirty="0"/>
        </a:p>
      </dgm:t>
    </dgm:pt>
    <dgm:pt modelId="{F85A8276-67B7-0348-AAA5-D0B276F91CCC}" type="parTrans" cxnId="{99B46FD4-8568-F948-AFC2-982E2CFFCAF9}">
      <dgm:prSet/>
      <dgm:spPr/>
      <dgm:t>
        <a:bodyPr/>
        <a:lstStyle/>
        <a:p>
          <a:endParaRPr lang="zh-CN" altLang="en-US"/>
        </a:p>
      </dgm:t>
    </dgm:pt>
    <dgm:pt modelId="{061D3D94-C7C6-6D40-BF6C-F976170EF7C4}" type="sibTrans" cxnId="{99B46FD4-8568-F948-AFC2-982E2CFFCAF9}">
      <dgm:prSet/>
      <dgm:spPr/>
      <dgm:t>
        <a:bodyPr/>
        <a:lstStyle/>
        <a:p>
          <a:endParaRPr lang="zh-CN" altLang="en-US"/>
        </a:p>
      </dgm:t>
    </dgm:pt>
    <dgm:pt modelId="{7146B2B5-DF38-1A4A-BC49-5D3B91085D94}">
      <dgm:prSet phldrT="[文本]" custT="1"/>
      <dgm:spPr/>
      <dgm:t>
        <a:bodyPr/>
        <a:lstStyle/>
        <a:p>
          <a:r>
            <a:rPr lang="de-DE" altLang="zh-CN" sz="1600" dirty="0"/>
            <a:t>lstm_2 (Units=32, Dropout=0,3)</a:t>
          </a:r>
          <a:endParaRPr lang="zh-CN" altLang="en-US" sz="1600" dirty="0"/>
        </a:p>
      </dgm:t>
    </dgm:pt>
    <dgm:pt modelId="{E45FFBE7-D672-7741-A94D-C2E3011F5DF1}" type="parTrans" cxnId="{9AE2A890-F3C5-1447-9626-67668FDB6B34}">
      <dgm:prSet/>
      <dgm:spPr/>
      <dgm:t>
        <a:bodyPr/>
        <a:lstStyle/>
        <a:p>
          <a:endParaRPr lang="zh-CN" altLang="en-US"/>
        </a:p>
      </dgm:t>
    </dgm:pt>
    <dgm:pt modelId="{15086D4D-BACB-8D4C-B268-7193F9DF364E}" type="sibTrans" cxnId="{9AE2A890-F3C5-1447-9626-67668FDB6B34}">
      <dgm:prSet/>
      <dgm:spPr/>
      <dgm:t>
        <a:bodyPr/>
        <a:lstStyle/>
        <a:p>
          <a:endParaRPr lang="zh-CN" altLang="en-US"/>
        </a:p>
      </dgm:t>
    </dgm:pt>
    <dgm:pt modelId="{153FCC07-828A-CE44-AB60-DFB90425D8CC}">
      <dgm:prSet phldrT="[文本]" custT="1"/>
      <dgm:spPr/>
      <dgm:t>
        <a:bodyPr/>
        <a:lstStyle/>
        <a:p>
          <a:r>
            <a:rPr lang="de-DE" altLang="zh-CN" sz="1600" dirty="0"/>
            <a:t>125 X 32</a:t>
          </a:r>
          <a:endParaRPr lang="zh-CN" altLang="en-US" sz="1600" dirty="0"/>
        </a:p>
      </dgm:t>
    </dgm:pt>
    <dgm:pt modelId="{B89E589B-A585-6D40-A16E-EF55A1145173}" type="parTrans" cxnId="{20B86A38-93FA-414B-B8C8-C05F4FB16DC2}">
      <dgm:prSet/>
      <dgm:spPr/>
      <dgm:t>
        <a:bodyPr/>
        <a:lstStyle/>
        <a:p>
          <a:endParaRPr lang="zh-CN" altLang="en-US"/>
        </a:p>
      </dgm:t>
    </dgm:pt>
    <dgm:pt modelId="{8A7617CC-4217-4D43-AE2C-A5596E382127}" type="sibTrans" cxnId="{20B86A38-93FA-414B-B8C8-C05F4FB16DC2}">
      <dgm:prSet/>
      <dgm:spPr/>
      <dgm:t>
        <a:bodyPr/>
        <a:lstStyle/>
        <a:p>
          <a:endParaRPr lang="zh-CN" altLang="en-US"/>
        </a:p>
      </dgm:t>
    </dgm:pt>
    <dgm:pt modelId="{0596BEB0-A057-CE49-B5D6-0D8CD3D22971}">
      <dgm:prSet phldrT="[文本]" custT="1"/>
      <dgm:spPr/>
      <dgm:t>
        <a:bodyPr/>
        <a:lstStyle/>
        <a:p>
          <a:r>
            <a:rPr lang="de-DE" altLang="zh-CN" sz="1600" dirty="0"/>
            <a:t>lstm_3 (Units=32, Dropout=0,3)</a:t>
          </a:r>
          <a:endParaRPr lang="zh-CN" altLang="en-US" sz="1600" dirty="0"/>
        </a:p>
      </dgm:t>
    </dgm:pt>
    <dgm:pt modelId="{0E68276D-6929-1F42-A3AE-9A0211C706DF}" type="parTrans" cxnId="{619E2F28-B79E-7E4C-BD53-24BF28F6FB45}">
      <dgm:prSet/>
      <dgm:spPr/>
      <dgm:t>
        <a:bodyPr/>
        <a:lstStyle/>
        <a:p>
          <a:endParaRPr lang="zh-CN" altLang="en-US"/>
        </a:p>
      </dgm:t>
    </dgm:pt>
    <dgm:pt modelId="{347E857B-DF95-2F49-AE7F-43CAFEDF2E56}" type="sibTrans" cxnId="{619E2F28-B79E-7E4C-BD53-24BF28F6FB45}">
      <dgm:prSet/>
      <dgm:spPr/>
      <dgm:t>
        <a:bodyPr/>
        <a:lstStyle/>
        <a:p>
          <a:endParaRPr lang="zh-CN" altLang="en-US"/>
        </a:p>
      </dgm:t>
    </dgm:pt>
    <dgm:pt modelId="{8EB28CCB-983E-9444-9E85-A4CE838B0E3D}">
      <dgm:prSet phldrT="[文本]" custT="1"/>
      <dgm:spPr/>
      <dgm:t>
        <a:bodyPr/>
        <a:lstStyle/>
        <a:p>
          <a:r>
            <a:rPr lang="de-DE" altLang="zh-CN" sz="1600" dirty="0"/>
            <a:t>62 X 32</a:t>
          </a:r>
          <a:endParaRPr lang="zh-CN" altLang="en-US" sz="1600" dirty="0"/>
        </a:p>
      </dgm:t>
    </dgm:pt>
    <dgm:pt modelId="{20284E7E-8367-A94E-8660-0A3D4F00B651}" type="parTrans" cxnId="{0F4C255B-2D30-3B43-A624-637621B051AF}">
      <dgm:prSet/>
      <dgm:spPr/>
      <dgm:t>
        <a:bodyPr/>
        <a:lstStyle/>
        <a:p>
          <a:endParaRPr lang="zh-CN" altLang="en-US"/>
        </a:p>
      </dgm:t>
    </dgm:pt>
    <dgm:pt modelId="{50B3FA4C-239B-0046-897E-7F86B98DAF05}" type="sibTrans" cxnId="{0F4C255B-2D30-3B43-A624-637621B051AF}">
      <dgm:prSet/>
      <dgm:spPr/>
      <dgm:t>
        <a:bodyPr/>
        <a:lstStyle/>
        <a:p>
          <a:endParaRPr lang="zh-CN" altLang="en-US"/>
        </a:p>
      </dgm:t>
    </dgm:pt>
    <dgm:pt modelId="{28A7302C-EFE8-0D4B-BDC6-FB863A78F866}">
      <dgm:prSet phldrT="[文本]" custT="1"/>
      <dgm:spPr/>
      <dgm:t>
        <a:bodyPr/>
        <a:lstStyle/>
        <a:p>
          <a:r>
            <a:rPr lang="de-DE" altLang="zh-CN" sz="1600" dirty="0"/>
            <a:t>lstm_4 (Units=32, Dropout=0,3)</a:t>
          </a:r>
          <a:endParaRPr lang="zh-CN" altLang="en-US" sz="1600" dirty="0"/>
        </a:p>
      </dgm:t>
    </dgm:pt>
    <dgm:pt modelId="{26AB26EC-5928-A14E-A2EA-08DC03D9501B}" type="parTrans" cxnId="{5F559533-1418-6C4F-BBAD-5CE10B530D7B}">
      <dgm:prSet/>
      <dgm:spPr/>
      <dgm:t>
        <a:bodyPr/>
        <a:lstStyle/>
        <a:p>
          <a:endParaRPr lang="zh-CN" altLang="en-US"/>
        </a:p>
      </dgm:t>
    </dgm:pt>
    <dgm:pt modelId="{CA4F216C-2E63-D44F-A22F-DF301DCD4F46}" type="sibTrans" cxnId="{5F559533-1418-6C4F-BBAD-5CE10B530D7B}">
      <dgm:prSet/>
      <dgm:spPr/>
      <dgm:t>
        <a:bodyPr/>
        <a:lstStyle/>
        <a:p>
          <a:endParaRPr lang="zh-CN" altLang="en-US"/>
        </a:p>
      </dgm:t>
    </dgm:pt>
    <dgm:pt modelId="{796EA846-AD88-2443-B03E-C5405454F683}">
      <dgm:prSet custT="1"/>
      <dgm:spPr/>
      <dgm:t>
        <a:bodyPr/>
        <a:lstStyle/>
        <a:p>
          <a:r>
            <a:rPr lang="de-DE" altLang="zh-CN" sz="1600" dirty="0"/>
            <a:t>31 X 32</a:t>
          </a:r>
          <a:endParaRPr lang="zh-CN" altLang="en-US" sz="1600" dirty="0"/>
        </a:p>
      </dgm:t>
    </dgm:pt>
    <dgm:pt modelId="{8EC83194-7F8D-3749-87DD-CD3DB408EC5A}" type="parTrans" cxnId="{7431AAB8-055C-7A4C-A6E9-4D183DEC35EB}">
      <dgm:prSet/>
      <dgm:spPr/>
      <dgm:t>
        <a:bodyPr/>
        <a:lstStyle/>
        <a:p>
          <a:endParaRPr lang="zh-CN" altLang="en-US"/>
        </a:p>
      </dgm:t>
    </dgm:pt>
    <dgm:pt modelId="{1883EABD-5FA8-F04A-A087-BAD275A10BB9}" type="sibTrans" cxnId="{7431AAB8-055C-7A4C-A6E9-4D183DEC35EB}">
      <dgm:prSet/>
      <dgm:spPr/>
      <dgm:t>
        <a:bodyPr/>
        <a:lstStyle/>
        <a:p>
          <a:endParaRPr lang="zh-CN" altLang="en-US"/>
        </a:p>
      </dgm:t>
    </dgm:pt>
    <dgm:pt modelId="{D56235BB-A3C6-4F44-BD1C-109EF5F9B34F}">
      <dgm:prSet custT="1"/>
      <dgm:spPr/>
      <dgm:t>
        <a:bodyPr/>
        <a:lstStyle/>
        <a:p>
          <a:r>
            <a:rPr lang="de-DE" altLang="zh-CN" sz="1400" dirty="0"/>
            <a:t>dense layer_1 (Units=128, Dropout=0,4)</a:t>
          </a:r>
          <a:endParaRPr lang="zh-CN" altLang="en-US" sz="1400" dirty="0"/>
        </a:p>
      </dgm:t>
    </dgm:pt>
    <dgm:pt modelId="{98B83FDD-B783-6542-A232-DE472015FCFC}" type="parTrans" cxnId="{28C4418F-A679-4349-B81A-DBFC617D67CA}">
      <dgm:prSet/>
      <dgm:spPr/>
      <dgm:t>
        <a:bodyPr/>
        <a:lstStyle/>
        <a:p>
          <a:endParaRPr lang="zh-CN" altLang="en-US"/>
        </a:p>
      </dgm:t>
    </dgm:pt>
    <dgm:pt modelId="{AC4261F4-1AAD-6645-83BA-F6763C1070F0}" type="sibTrans" cxnId="{28C4418F-A679-4349-B81A-DBFC617D67CA}">
      <dgm:prSet/>
      <dgm:spPr/>
      <dgm:t>
        <a:bodyPr/>
        <a:lstStyle/>
        <a:p>
          <a:endParaRPr lang="zh-CN" altLang="en-US"/>
        </a:p>
      </dgm:t>
    </dgm:pt>
    <dgm:pt modelId="{997D8610-309F-244B-A55D-C89F14EC64D7}">
      <dgm:prSet custT="1"/>
      <dgm:spPr/>
      <dgm:t>
        <a:bodyPr/>
        <a:lstStyle/>
        <a:p>
          <a:r>
            <a:rPr lang="de-DE" altLang="zh-CN" sz="1600" dirty="0"/>
            <a:t>128</a:t>
          </a:r>
          <a:endParaRPr lang="zh-CN" altLang="en-US" sz="1600" dirty="0"/>
        </a:p>
      </dgm:t>
    </dgm:pt>
    <dgm:pt modelId="{DECAC62A-4BB8-7E42-BFFC-12C3D1EBDD65}" type="parTrans" cxnId="{8935FCEA-9B3D-2C48-BEAD-B2327EDE58DC}">
      <dgm:prSet/>
      <dgm:spPr/>
      <dgm:t>
        <a:bodyPr/>
        <a:lstStyle/>
        <a:p>
          <a:endParaRPr lang="zh-CN" altLang="en-US"/>
        </a:p>
      </dgm:t>
    </dgm:pt>
    <dgm:pt modelId="{9DFD5A2E-DE60-F541-920C-FB9E53C380DD}" type="sibTrans" cxnId="{8935FCEA-9B3D-2C48-BEAD-B2327EDE58DC}">
      <dgm:prSet/>
      <dgm:spPr/>
      <dgm:t>
        <a:bodyPr/>
        <a:lstStyle/>
        <a:p>
          <a:endParaRPr lang="zh-CN" altLang="en-US"/>
        </a:p>
      </dgm:t>
    </dgm:pt>
    <dgm:pt modelId="{BC2D7B5D-0F46-B44A-9546-3CA4D8E9274B}">
      <dgm:prSet custT="1"/>
      <dgm:spPr/>
      <dgm:t>
        <a:bodyPr/>
        <a:lstStyle/>
        <a:p>
          <a:r>
            <a:rPr lang="de-DE" altLang="zh-CN" sz="1400" dirty="0"/>
            <a:t>dense layer_2 (Units=128, Dropout=0,4)</a:t>
          </a:r>
          <a:endParaRPr lang="zh-CN" altLang="en-US" sz="1400" dirty="0"/>
        </a:p>
      </dgm:t>
    </dgm:pt>
    <dgm:pt modelId="{086A63F6-447F-324D-A2AF-A994EB642D5F}" type="parTrans" cxnId="{BAA7D3A3-9F59-F24A-99F6-E7D849AC231C}">
      <dgm:prSet/>
      <dgm:spPr/>
      <dgm:t>
        <a:bodyPr/>
        <a:lstStyle/>
        <a:p>
          <a:endParaRPr lang="zh-CN" altLang="en-US"/>
        </a:p>
      </dgm:t>
    </dgm:pt>
    <dgm:pt modelId="{E01C1AB5-F148-9C49-BA44-7AD9D1F50AA7}" type="sibTrans" cxnId="{BAA7D3A3-9F59-F24A-99F6-E7D849AC231C}">
      <dgm:prSet/>
      <dgm:spPr/>
      <dgm:t>
        <a:bodyPr/>
        <a:lstStyle/>
        <a:p>
          <a:endParaRPr lang="zh-CN" altLang="en-US"/>
        </a:p>
      </dgm:t>
    </dgm:pt>
    <dgm:pt modelId="{2C9FDA07-5EA9-8847-81CB-983F83727CB9}">
      <dgm:prSet custT="1"/>
      <dgm:spPr/>
      <dgm:t>
        <a:bodyPr/>
        <a:lstStyle/>
        <a:p>
          <a:r>
            <a:rPr lang="de-DE" altLang="zh-CN" sz="1600" dirty="0"/>
            <a:t>128</a:t>
          </a:r>
          <a:endParaRPr lang="zh-CN" altLang="en-US" sz="1600" dirty="0"/>
        </a:p>
      </dgm:t>
    </dgm:pt>
    <dgm:pt modelId="{0CED0E64-7690-824F-8C80-7B74756AEE0F}" type="parTrans" cxnId="{912BE4E1-E14C-594E-AD21-3CF39A10B3CB}">
      <dgm:prSet/>
      <dgm:spPr/>
      <dgm:t>
        <a:bodyPr/>
        <a:lstStyle/>
        <a:p>
          <a:endParaRPr lang="zh-CN" altLang="en-US"/>
        </a:p>
      </dgm:t>
    </dgm:pt>
    <dgm:pt modelId="{9F7BB376-641F-9047-8ED8-07C5CF5E631C}" type="sibTrans" cxnId="{912BE4E1-E14C-594E-AD21-3CF39A10B3CB}">
      <dgm:prSet/>
      <dgm:spPr/>
      <dgm:t>
        <a:bodyPr/>
        <a:lstStyle/>
        <a:p>
          <a:endParaRPr lang="zh-CN" altLang="en-US"/>
        </a:p>
      </dgm:t>
    </dgm:pt>
    <dgm:pt modelId="{6649E9D5-3890-694C-9D11-F90E62AFEF68}">
      <dgm:prSet custT="1"/>
      <dgm:spPr/>
      <dgm:t>
        <a:bodyPr/>
        <a:lstStyle/>
        <a:p>
          <a:r>
            <a:rPr lang="de-DE" altLang="zh-CN" sz="1600" dirty="0"/>
            <a:t>lstm_5 (Units=32, Dropout=0,3)</a:t>
          </a:r>
          <a:endParaRPr lang="zh-CN" altLang="en-US" sz="1600" dirty="0"/>
        </a:p>
      </dgm:t>
    </dgm:pt>
    <dgm:pt modelId="{A486A662-C7B0-7744-83FE-C03C8BBD2CED}" type="parTrans" cxnId="{78DC50A4-E1F7-3A40-B4C3-1482EA918A8B}">
      <dgm:prSet/>
      <dgm:spPr/>
      <dgm:t>
        <a:bodyPr/>
        <a:lstStyle/>
        <a:p>
          <a:endParaRPr lang="zh-CN" altLang="en-US"/>
        </a:p>
      </dgm:t>
    </dgm:pt>
    <dgm:pt modelId="{F084B77E-467B-0C48-B120-7F517896F1E1}" type="sibTrans" cxnId="{78DC50A4-E1F7-3A40-B4C3-1482EA918A8B}">
      <dgm:prSet/>
      <dgm:spPr/>
      <dgm:t>
        <a:bodyPr/>
        <a:lstStyle/>
        <a:p>
          <a:endParaRPr lang="zh-CN" altLang="en-US"/>
        </a:p>
      </dgm:t>
    </dgm:pt>
    <dgm:pt modelId="{9E112B80-C66A-314B-8A79-6F4A9B11C547}">
      <dgm:prSet custT="1"/>
      <dgm:spPr/>
      <dgm:t>
        <a:bodyPr/>
        <a:lstStyle/>
        <a:p>
          <a:r>
            <a:rPr lang="de-DE" altLang="zh-CN" sz="1600" dirty="0"/>
            <a:t>32</a:t>
          </a:r>
          <a:endParaRPr lang="zh-CN" altLang="en-US" sz="1600" dirty="0"/>
        </a:p>
      </dgm:t>
    </dgm:pt>
    <dgm:pt modelId="{CB74449C-D0BE-3147-8BE9-43952818FA28}" type="parTrans" cxnId="{AEB1C6D0-3405-B84B-BFFC-1244DCEE9331}">
      <dgm:prSet/>
      <dgm:spPr/>
      <dgm:t>
        <a:bodyPr/>
        <a:lstStyle/>
        <a:p>
          <a:endParaRPr lang="zh-CN" altLang="en-US"/>
        </a:p>
      </dgm:t>
    </dgm:pt>
    <dgm:pt modelId="{925B24A1-108D-CF4B-A908-C7355826DDDC}" type="sibTrans" cxnId="{AEB1C6D0-3405-B84B-BFFC-1244DCEE9331}">
      <dgm:prSet/>
      <dgm:spPr/>
      <dgm:t>
        <a:bodyPr/>
        <a:lstStyle/>
        <a:p>
          <a:endParaRPr lang="zh-CN" altLang="en-US"/>
        </a:p>
      </dgm:t>
    </dgm:pt>
    <dgm:pt modelId="{911F1C08-7413-DD4D-BD97-E2EACE9F4D3E}">
      <dgm:prSet custT="1"/>
      <dgm:spPr/>
      <dgm:t>
        <a:bodyPr/>
        <a:lstStyle/>
        <a:p>
          <a:r>
            <a:rPr lang="de-DE" altLang="zh-CN" sz="1600" dirty="0"/>
            <a:t>dense layer_3 (Softmax)</a:t>
          </a:r>
          <a:endParaRPr lang="zh-CN" altLang="en-US" sz="1600" dirty="0"/>
        </a:p>
      </dgm:t>
    </dgm:pt>
    <dgm:pt modelId="{20713B4E-F76E-3940-9E5D-866A8959A283}" type="parTrans" cxnId="{2788D1E5-6AFF-7A4B-A449-58C14C324BE0}">
      <dgm:prSet/>
      <dgm:spPr/>
      <dgm:t>
        <a:bodyPr/>
        <a:lstStyle/>
        <a:p>
          <a:endParaRPr lang="zh-CN" altLang="en-US"/>
        </a:p>
      </dgm:t>
    </dgm:pt>
    <dgm:pt modelId="{621D49AC-D1CE-AC45-B03A-1AF3954B976A}" type="sibTrans" cxnId="{2788D1E5-6AFF-7A4B-A449-58C14C324BE0}">
      <dgm:prSet/>
      <dgm:spPr/>
      <dgm:t>
        <a:bodyPr/>
        <a:lstStyle/>
        <a:p>
          <a:endParaRPr lang="zh-CN" altLang="en-US"/>
        </a:p>
      </dgm:t>
    </dgm:pt>
    <dgm:pt modelId="{DBF18ACE-458B-7340-B119-2E3BB9331EB2}">
      <dgm:prSet custT="1"/>
      <dgm:spPr/>
      <dgm:t>
        <a:bodyPr/>
        <a:lstStyle/>
        <a:p>
          <a:r>
            <a:rPr lang="de-DE" altLang="zh-CN" sz="1600" dirty="0"/>
            <a:t>12</a:t>
          </a:r>
          <a:endParaRPr lang="zh-CN" altLang="en-US" sz="1600" dirty="0"/>
        </a:p>
      </dgm:t>
    </dgm:pt>
    <dgm:pt modelId="{D673A5CD-B935-804F-91B6-676DFD13776E}" type="parTrans" cxnId="{0FE64A66-A005-CA4E-B745-68D78E532E39}">
      <dgm:prSet/>
      <dgm:spPr/>
      <dgm:t>
        <a:bodyPr/>
        <a:lstStyle/>
        <a:p>
          <a:endParaRPr lang="zh-CN" altLang="en-US"/>
        </a:p>
      </dgm:t>
    </dgm:pt>
    <dgm:pt modelId="{F3E858CE-4B50-A643-B00D-BA8AC086A9F0}" type="sibTrans" cxnId="{0FE64A66-A005-CA4E-B745-68D78E532E39}">
      <dgm:prSet/>
      <dgm:spPr/>
      <dgm:t>
        <a:bodyPr/>
        <a:lstStyle/>
        <a:p>
          <a:endParaRPr lang="zh-CN" altLang="en-US"/>
        </a:p>
      </dgm:t>
    </dgm:pt>
    <dgm:pt modelId="{4474670F-E02B-1D4C-8E33-B41CF1947ED9}" type="pres">
      <dgm:prSet presAssocID="{C291AFB2-99F4-744D-AED2-C38778982BDE}" presName="Name0" presStyleCnt="0">
        <dgm:presLayoutVars>
          <dgm:dir/>
          <dgm:animLvl val="lvl"/>
          <dgm:resizeHandles val="exact"/>
        </dgm:presLayoutVars>
      </dgm:prSet>
      <dgm:spPr/>
    </dgm:pt>
    <dgm:pt modelId="{56D5A64A-D773-9847-A9FF-5456592A645A}" type="pres">
      <dgm:prSet presAssocID="{911F1C08-7413-DD4D-BD97-E2EACE9F4D3E}" presName="boxAndChildren" presStyleCnt="0"/>
      <dgm:spPr/>
    </dgm:pt>
    <dgm:pt modelId="{74B91347-A050-5644-957B-058B79469465}" type="pres">
      <dgm:prSet presAssocID="{911F1C08-7413-DD4D-BD97-E2EACE9F4D3E}" presName="parentTextBox" presStyleLbl="node1" presStyleIdx="0" presStyleCnt="8"/>
      <dgm:spPr/>
    </dgm:pt>
    <dgm:pt modelId="{36F910F0-99A4-C848-836C-1101B8C50CA0}" type="pres">
      <dgm:prSet presAssocID="{911F1C08-7413-DD4D-BD97-E2EACE9F4D3E}" presName="entireBox" presStyleLbl="node1" presStyleIdx="0" presStyleCnt="8"/>
      <dgm:spPr/>
    </dgm:pt>
    <dgm:pt modelId="{C3FE6F95-A00E-8042-A933-66C0DD1BE644}" type="pres">
      <dgm:prSet presAssocID="{911F1C08-7413-DD4D-BD97-E2EACE9F4D3E}" presName="descendantBox" presStyleCnt="0"/>
      <dgm:spPr/>
    </dgm:pt>
    <dgm:pt modelId="{0ACAFA1A-E2A6-FD40-A2B0-6521A6DDA0DD}" type="pres">
      <dgm:prSet presAssocID="{DBF18ACE-458B-7340-B119-2E3BB9331EB2}" presName="childTextBox" presStyleLbl="fgAccFollowNode1" presStyleIdx="0" presStyleCnt="8">
        <dgm:presLayoutVars>
          <dgm:bulletEnabled val="1"/>
        </dgm:presLayoutVars>
      </dgm:prSet>
      <dgm:spPr/>
    </dgm:pt>
    <dgm:pt modelId="{3D909ECC-7260-CF4A-8917-15507E4CC875}" type="pres">
      <dgm:prSet presAssocID="{E01C1AB5-F148-9C49-BA44-7AD9D1F50AA7}" presName="sp" presStyleCnt="0"/>
      <dgm:spPr/>
    </dgm:pt>
    <dgm:pt modelId="{28096051-51CD-684A-B0ED-81C785FCAEA7}" type="pres">
      <dgm:prSet presAssocID="{BC2D7B5D-0F46-B44A-9546-3CA4D8E9274B}" presName="arrowAndChildren" presStyleCnt="0"/>
      <dgm:spPr/>
    </dgm:pt>
    <dgm:pt modelId="{798970B6-9666-4347-BBA0-57354925EC27}" type="pres">
      <dgm:prSet presAssocID="{BC2D7B5D-0F46-B44A-9546-3CA4D8E9274B}" presName="parentTextArrow" presStyleLbl="node1" presStyleIdx="0" presStyleCnt="8"/>
      <dgm:spPr/>
    </dgm:pt>
    <dgm:pt modelId="{A60789C4-0FE7-AF41-A35C-E52A37B96AD5}" type="pres">
      <dgm:prSet presAssocID="{BC2D7B5D-0F46-B44A-9546-3CA4D8E9274B}" presName="arrow" presStyleLbl="node1" presStyleIdx="1" presStyleCnt="8"/>
      <dgm:spPr/>
    </dgm:pt>
    <dgm:pt modelId="{61927554-EF87-3640-9781-3FDEC9FD1923}" type="pres">
      <dgm:prSet presAssocID="{BC2D7B5D-0F46-B44A-9546-3CA4D8E9274B}" presName="descendantArrow" presStyleCnt="0"/>
      <dgm:spPr/>
    </dgm:pt>
    <dgm:pt modelId="{CBD6CE25-C0B5-FA4B-ABC5-FAF9BAC151C7}" type="pres">
      <dgm:prSet presAssocID="{2C9FDA07-5EA9-8847-81CB-983F83727CB9}" presName="childTextArrow" presStyleLbl="fgAccFollowNode1" presStyleIdx="1" presStyleCnt="8">
        <dgm:presLayoutVars>
          <dgm:bulletEnabled val="1"/>
        </dgm:presLayoutVars>
      </dgm:prSet>
      <dgm:spPr/>
    </dgm:pt>
    <dgm:pt modelId="{A855E52D-2BDA-6442-A005-DC78DB5A4A56}" type="pres">
      <dgm:prSet presAssocID="{AC4261F4-1AAD-6645-83BA-F6763C1070F0}" presName="sp" presStyleCnt="0"/>
      <dgm:spPr/>
    </dgm:pt>
    <dgm:pt modelId="{26F83253-0BDB-D340-ABBC-9FE2EDBC62C5}" type="pres">
      <dgm:prSet presAssocID="{D56235BB-A3C6-4F44-BD1C-109EF5F9B34F}" presName="arrowAndChildren" presStyleCnt="0"/>
      <dgm:spPr/>
    </dgm:pt>
    <dgm:pt modelId="{88F9B580-2CEC-8A4A-A3A7-5D351011590B}" type="pres">
      <dgm:prSet presAssocID="{D56235BB-A3C6-4F44-BD1C-109EF5F9B34F}" presName="parentTextArrow" presStyleLbl="node1" presStyleIdx="1" presStyleCnt="8"/>
      <dgm:spPr/>
    </dgm:pt>
    <dgm:pt modelId="{ABD765D8-4567-7C45-9416-36A9951DFD3E}" type="pres">
      <dgm:prSet presAssocID="{D56235BB-A3C6-4F44-BD1C-109EF5F9B34F}" presName="arrow" presStyleLbl="node1" presStyleIdx="2" presStyleCnt="8"/>
      <dgm:spPr/>
    </dgm:pt>
    <dgm:pt modelId="{3B8B0D45-FE4A-9F44-934F-58BE56D3B51F}" type="pres">
      <dgm:prSet presAssocID="{D56235BB-A3C6-4F44-BD1C-109EF5F9B34F}" presName="descendantArrow" presStyleCnt="0"/>
      <dgm:spPr/>
    </dgm:pt>
    <dgm:pt modelId="{255CF012-590D-A74E-AB03-61D53C567F8B}" type="pres">
      <dgm:prSet presAssocID="{997D8610-309F-244B-A55D-C89F14EC64D7}" presName="childTextArrow" presStyleLbl="fgAccFollowNode1" presStyleIdx="2" presStyleCnt="8" custLinFactNeighborX="-409" custLinFactNeighborY="-30140">
        <dgm:presLayoutVars>
          <dgm:bulletEnabled val="1"/>
        </dgm:presLayoutVars>
      </dgm:prSet>
      <dgm:spPr/>
    </dgm:pt>
    <dgm:pt modelId="{6AAA62B2-814E-FA4B-8BF1-C5BE8452423E}" type="pres">
      <dgm:prSet presAssocID="{F084B77E-467B-0C48-B120-7F517896F1E1}" presName="sp" presStyleCnt="0"/>
      <dgm:spPr/>
    </dgm:pt>
    <dgm:pt modelId="{80702AA9-2C67-D347-BACB-03C93B951A22}" type="pres">
      <dgm:prSet presAssocID="{6649E9D5-3890-694C-9D11-F90E62AFEF68}" presName="arrowAndChildren" presStyleCnt="0"/>
      <dgm:spPr/>
    </dgm:pt>
    <dgm:pt modelId="{E3F09750-B98D-6946-8E24-4F38880C729A}" type="pres">
      <dgm:prSet presAssocID="{6649E9D5-3890-694C-9D11-F90E62AFEF68}" presName="parentTextArrow" presStyleLbl="node1" presStyleIdx="2" presStyleCnt="8"/>
      <dgm:spPr/>
    </dgm:pt>
    <dgm:pt modelId="{A84D6EB9-72BB-D542-B2EB-88607C7BDFF9}" type="pres">
      <dgm:prSet presAssocID="{6649E9D5-3890-694C-9D11-F90E62AFEF68}" presName="arrow" presStyleLbl="node1" presStyleIdx="3" presStyleCnt="8"/>
      <dgm:spPr/>
    </dgm:pt>
    <dgm:pt modelId="{EC10142E-6210-E840-B55C-30D07224855D}" type="pres">
      <dgm:prSet presAssocID="{6649E9D5-3890-694C-9D11-F90E62AFEF68}" presName="descendantArrow" presStyleCnt="0"/>
      <dgm:spPr/>
    </dgm:pt>
    <dgm:pt modelId="{4BA50EF8-6D84-6141-A810-9085B3E539EA}" type="pres">
      <dgm:prSet presAssocID="{9E112B80-C66A-314B-8A79-6F4A9B11C547}" presName="childTextArrow" presStyleLbl="fgAccFollowNode1" presStyleIdx="3" presStyleCnt="8">
        <dgm:presLayoutVars>
          <dgm:bulletEnabled val="1"/>
        </dgm:presLayoutVars>
      </dgm:prSet>
      <dgm:spPr/>
    </dgm:pt>
    <dgm:pt modelId="{BEFE3282-16E2-2B4C-9950-4CC88FB878A9}" type="pres">
      <dgm:prSet presAssocID="{CA4F216C-2E63-D44F-A22F-DF301DCD4F46}" presName="sp" presStyleCnt="0"/>
      <dgm:spPr/>
    </dgm:pt>
    <dgm:pt modelId="{F1FA682E-2464-C844-9409-7ED0FA5D560B}" type="pres">
      <dgm:prSet presAssocID="{28A7302C-EFE8-0D4B-BDC6-FB863A78F866}" presName="arrowAndChildren" presStyleCnt="0"/>
      <dgm:spPr/>
    </dgm:pt>
    <dgm:pt modelId="{5F5C1BF3-8CAB-D548-BBEE-0EC54C51F8E1}" type="pres">
      <dgm:prSet presAssocID="{28A7302C-EFE8-0D4B-BDC6-FB863A78F866}" presName="parentTextArrow" presStyleLbl="node1" presStyleIdx="3" presStyleCnt="8"/>
      <dgm:spPr/>
    </dgm:pt>
    <dgm:pt modelId="{A066E824-FEDC-EB4A-88BA-305AC22D57B4}" type="pres">
      <dgm:prSet presAssocID="{28A7302C-EFE8-0D4B-BDC6-FB863A78F866}" presName="arrow" presStyleLbl="node1" presStyleIdx="4" presStyleCnt="8"/>
      <dgm:spPr/>
    </dgm:pt>
    <dgm:pt modelId="{67C523EA-EB3E-1642-AE05-3E632B1DA645}" type="pres">
      <dgm:prSet presAssocID="{28A7302C-EFE8-0D4B-BDC6-FB863A78F866}" presName="descendantArrow" presStyleCnt="0"/>
      <dgm:spPr/>
    </dgm:pt>
    <dgm:pt modelId="{50A67DB9-79F5-1D47-8C80-9BD1675366DC}" type="pres">
      <dgm:prSet presAssocID="{796EA846-AD88-2443-B03E-C5405454F683}" presName="childTextArrow" presStyleLbl="fgAccFollowNode1" presStyleIdx="4" presStyleCnt="8">
        <dgm:presLayoutVars>
          <dgm:bulletEnabled val="1"/>
        </dgm:presLayoutVars>
      </dgm:prSet>
      <dgm:spPr/>
    </dgm:pt>
    <dgm:pt modelId="{008C26F5-7166-2445-A636-1F5FBC5BB5D0}" type="pres">
      <dgm:prSet presAssocID="{347E857B-DF95-2F49-AE7F-43CAFEDF2E56}" presName="sp" presStyleCnt="0"/>
      <dgm:spPr/>
    </dgm:pt>
    <dgm:pt modelId="{C2DAEA44-3D94-DA48-8792-B71992E2634C}" type="pres">
      <dgm:prSet presAssocID="{0596BEB0-A057-CE49-B5D6-0D8CD3D22971}" presName="arrowAndChildren" presStyleCnt="0"/>
      <dgm:spPr/>
    </dgm:pt>
    <dgm:pt modelId="{CA8F7F74-4DF4-4F46-9B1D-BE3BB3D8AB72}" type="pres">
      <dgm:prSet presAssocID="{0596BEB0-A057-CE49-B5D6-0D8CD3D22971}" presName="parentTextArrow" presStyleLbl="node1" presStyleIdx="4" presStyleCnt="8"/>
      <dgm:spPr/>
    </dgm:pt>
    <dgm:pt modelId="{5962EBDC-EDBC-EB43-BFEC-72F4C54D49B0}" type="pres">
      <dgm:prSet presAssocID="{0596BEB0-A057-CE49-B5D6-0D8CD3D22971}" presName="arrow" presStyleLbl="node1" presStyleIdx="5" presStyleCnt="8"/>
      <dgm:spPr/>
    </dgm:pt>
    <dgm:pt modelId="{4B30E482-44E6-FD4F-AECF-B3084DA6BFB9}" type="pres">
      <dgm:prSet presAssocID="{0596BEB0-A057-CE49-B5D6-0D8CD3D22971}" presName="descendantArrow" presStyleCnt="0"/>
      <dgm:spPr/>
    </dgm:pt>
    <dgm:pt modelId="{6C77FDDF-0215-CE42-A553-6EC759DA31DB}" type="pres">
      <dgm:prSet presAssocID="{8EB28CCB-983E-9444-9E85-A4CE838B0E3D}" presName="childTextArrow" presStyleLbl="fgAccFollowNode1" presStyleIdx="5" presStyleCnt="8">
        <dgm:presLayoutVars>
          <dgm:bulletEnabled val="1"/>
        </dgm:presLayoutVars>
      </dgm:prSet>
      <dgm:spPr/>
    </dgm:pt>
    <dgm:pt modelId="{1BF500A0-DE17-3E4C-B637-58C8531F3A06}" type="pres">
      <dgm:prSet presAssocID="{15086D4D-BACB-8D4C-B268-7193F9DF364E}" presName="sp" presStyleCnt="0"/>
      <dgm:spPr/>
    </dgm:pt>
    <dgm:pt modelId="{2F7B6846-CB9A-764B-BB68-474CAF171E0F}" type="pres">
      <dgm:prSet presAssocID="{7146B2B5-DF38-1A4A-BC49-5D3B91085D94}" presName="arrowAndChildren" presStyleCnt="0"/>
      <dgm:spPr/>
    </dgm:pt>
    <dgm:pt modelId="{6005B5E2-96BA-4846-89CB-B7EB281442BB}" type="pres">
      <dgm:prSet presAssocID="{7146B2B5-DF38-1A4A-BC49-5D3B91085D94}" presName="parentTextArrow" presStyleLbl="node1" presStyleIdx="5" presStyleCnt="8"/>
      <dgm:spPr/>
    </dgm:pt>
    <dgm:pt modelId="{814B1545-A225-E24B-B910-8E0CCD464B45}" type="pres">
      <dgm:prSet presAssocID="{7146B2B5-DF38-1A4A-BC49-5D3B91085D94}" presName="arrow" presStyleLbl="node1" presStyleIdx="6" presStyleCnt="8"/>
      <dgm:spPr/>
    </dgm:pt>
    <dgm:pt modelId="{CF262BFC-1A19-E743-9010-1B6E7E23DA2E}" type="pres">
      <dgm:prSet presAssocID="{7146B2B5-DF38-1A4A-BC49-5D3B91085D94}" presName="descendantArrow" presStyleCnt="0"/>
      <dgm:spPr/>
    </dgm:pt>
    <dgm:pt modelId="{5A88BCBD-7676-DA4D-B96E-98120A4ECF34}" type="pres">
      <dgm:prSet presAssocID="{153FCC07-828A-CE44-AB60-DFB90425D8CC}" presName="childTextArrow" presStyleLbl="fgAccFollowNode1" presStyleIdx="6" presStyleCnt="8">
        <dgm:presLayoutVars>
          <dgm:bulletEnabled val="1"/>
        </dgm:presLayoutVars>
      </dgm:prSet>
      <dgm:spPr/>
    </dgm:pt>
    <dgm:pt modelId="{F3F2614D-91A5-0249-BADB-13392EF9545A}" type="pres">
      <dgm:prSet presAssocID="{4E97798E-8A19-C443-AB54-07331D6D2C29}" presName="sp" presStyleCnt="0"/>
      <dgm:spPr/>
    </dgm:pt>
    <dgm:pt modelId="{D12321CE-7113-FF48-80F8-D4EE1567D513}" type="pres">
      <dgm:prSet presAssocID="{E0D01C91-BE30-2743-86D1-81FE17C208C4}" presName="arrowAndChildren" presStyleCnt="0"/>
      <dgm:spPr/>
    </dgm:pt>
    <dgm:pt modelId="{88AA369F-1B5E-6643-8673-1CB65EB1C447}" type="pres">
      <dgm:prSet presAssocID="{E0D01C91-BE30-2743-86D1-81FE17C208C4}" presName="parentTextArrow" presStyleLbl="node1" presStyleIdx="6" presStyleCnt="8"/>
      <dgm:spPr/>
    </dgm:pt>
    <dgm:pt modelId="{5BEF42B0-2EA9-DC4C-8D73-F9D8F84851EF}" type="pres">
      <dgm:prSet presAssocID="{E0D01C91-BE30-2743-86D1-81FE17C208C4}" presName="arrow" presStyleLbl="node1" presStyleIdx="7" presStyleCnt="8"/>
      <dgm:spPr/>
    </dgm:pt>
    <dgm:pt modelId="{703B7DAA-37AE-E944-B824-88C6C0DCBE80}" type="pres">
      <dgm:prSet presAssocID="{E0D01C91-BE30-2743-86D1-81FE17C208C4}" presName="descendantArrow" presStyleCnt="0"/>
      <dgm:spPr/>
    </dgm:pt>
    <dgm:pt modelId="{1FFD4D36-5EF8-3349-A042-0E273035ED14}" type="pres">
      <dgm:prSet presAssocID="{C2D79976-A391-B343-84D9-24C7C7A229BC}" presName="childTextArrow" presStyleLbl="fgAccFollowNode1" presStyleIdx="7" presStyleCnt="8">
        <dgm:presLayoutVars>
          <dgm:bulletEnabled val="1"/>
        </dgm:presLayoutVars>
      </dgm:prSet>
      <dgm:spPr/>
    </dgm:pt>
  </dgm:ptLst>
  <dgm:cxnLst>
    <dgm:cxn modelId="{1E16DF0D-495F-724D-BCBB-56BC13D192AB}" type="presOf" srcId="{997D8610-309F-244B-A55D-C89F14EC64D7}" destId="{255CF012-590D-A74E-AB03-61D53C567F8B}" srcOrd="0" destOrd="0" presId="urn:microsoft.com/office/officeart/2005/8/layout/process4"/>
    <dgm:cxn modelId="{B24A5627-00F6-524B-AC96-09C4ED749A72}" srcId="{C291AFB2-99F4-744D-AED2-C38778982BDE}" destId="{E0D01C91-BE30-2743-86D1-81FE17C208C4}" srcOrd="0" destOrd="0" parTransId="{E350DE74-F585-B640-9DEB-07C2CE5EF430}" sibTransId="{4E97798E-8A19-C443-AB54-07331D6D2C29}"/>
    <dgm:cxn modelId="{619E2F28-B79E-7E4C-BD53-24BF28F6FB45}" srcId="{C291AFB2-99F4-744D-AED2-C38778982BDE}" destId="{0596BEB0-A057-CE49-B5D6-0D8CD3D22971}" srcOrd="2" destOrd="0" parTransId="{0E68276D-6929-1F42-A3AE-9A0211C706DF}" sibTransId="{347E857B-DF95-2F49-AE7F-43CAFEDF2E56}"/>
    <dgm:cxn modelId="{5F559533-1418-6C4F-BBAD-5CE10B530D7B}" srcId="{C291AFB2-99F4-744D-AED2-C38778982BDE}" destId="{28A7302C-EFE8-0D4B-BDC6-FB863A78F866}" srcOrd="3" destOrd="0" parTransId="{26AB26EC-5928-A14E-A2EA-08DC03D9501B}" sibTransId="{CA4F216C-2E63-D44F-A22F-DF301DCD4F46}"/>
    <dgm:cxn modelId="{20B86A38-93FA-414B-B8C8-C05F4FB16DC2}" srcId="{7146B2B5-DF38-1A4A-BC49-5D3B91085D94}" destId="{153FCC07-828A-CE44-AB60-DFB90425D8CC}" srcOrd="0" destOrd="0" parTransId="{B89E589B-A585-6D40-A16E-EF55A1145173}" sibTransId="{8A7617CC-4217-4D43-AE2C-A5596E382127}"/>
    <dgm:cxn modelId="{26795F42-6F41-9749-ACEF-70ACC8F7ECF2}" type="presOf" srcId="{0596BEB0-A057-CE49-B5D6-0D8CD3D22971}" destId="{CA8F7F74-4DF4-4F46-9B1D-BE3BB3D8AB72}" srcOrd="0" destOrd="0" presId="urn:microsoft.com/office/officeart/2005/8/layout/process4"/>
    <dgm:cxn modelId="{4C4DF049-9033-854C-8339-731FC1D3D434}" type="presOf" srcId="{28A7302C-EFE8-0D4B-BDC6-FB863A78F866}" destId="{5F5C1BF3-8CAB-D548-BBEE-0EC54C51F8E1}" srcOrd="0" destOrd="0" presId="urn:microsoft.com/office/officeart/2005/8/layout/process4"/>
    <dgm:cxn modelId="{0F4C255B-2D30-3B43-A624-637621B051AF}" srcId="{0596BEB0-A057-CE49-B5D6-0D8CD3D22971}" destId="{8EB28CCB-983E-9444-9E85-A4CE838B0E3D}" srcOrd="0" destOrd="0" parTransId="{20284E7E-8367-A94E-8660-0A3D4F00B651}" sibTransId="{50B3FA4C-239B-0046-897E-7F86B98DAF05}"/>
    <dgm:cxn modelId="{1E7C9362-11E2-6742-A6A6-90991C0189AF}" type="presOf" srcId="{2C9FDA07-5EA9-8847-81CB-983F83727CB9}" destId="{CBD6CE25-C0B5-FA4B-ABC5-FAF9BAC151C7}" srcOrd="0" destOrd="0" presId="urn:microsoft.com/office/officeart/2005/8/layout/process4"/>
    <dgm:cxn modelId="{E566A163-5689-D74D-B31C-891344A5B425}" type="presOf" srcId="{C2D79976-A391-B343-84D9-24C7C7A229BC}" destId="{1FFD4D36-5EF8-3349-A042-0E273035ED14}" srcOrd="0" destOrd="0" presId="urn:microsoft.com/office/officeart/2005/8/layout/process4"/>
    <dgm:cxn modelId="{0FE64A66-A005-CA4E-B745-68D78E532E39}" srcId="{911F1C08-7413-DD4D-BD97-E2EACE9F4D3E}" destId="{DBF18ACE-458B-7340-B119-2E3BB9331EB2}" srcOrd="0" destOrd="0" parTransId="{D673A5CD-B935-804F-91B6-676DFD13776E}" sibTransId="{F3E858CE-4B50-A643-B00D-BA8AC086A9F0}"/>
    <dgm:cxn modelId="{392A356A-E75D-A646-BAD2-0CAB96F2E71F}" type="presOf" srcId="{D56235BB-A3C6-4F44-BD1C-109EF5F9B34F}" destId="{ABD765D8-4567-7C45-9416-36A9951DFD3E}" srcOrd="1" destOrd="0" presId="urn:microsoft.com/office/officeart/2005/8/layout/process4"/>
    <dgm:cxn modelId="{2084EE6F-6F80-C442-96B5-ACA9D18FF719}" type="presOf" srcId="{6649E9D5-3890-694C-9D11-F90E62AFEF68}" destId="{A84D6EB9-72BB-D542-B2EB-88607C7BDFF9}" srcOrd="1" destOrd="0" presId="urn:microsoft.com/office/officeart/2005/8/layout/process4"/>
    <dgm:cxn modelId="{073E6871-064C-8D4D-B315-50D36088430B}" type="presOf" srcId="{796EA846-AD88-2443-B03E-C5405454F683}" destId="{50A67DB9-79F5-1D47-8C80-9BD1675366DC}" srcOrd="0" destOrd="0" presId="urn:microsoft.com/office/officeart/2005/8/layout/process4"/>
    <dgm:cxn modelId="{A14E987B-2349-CC47-AECE-7949B29DB404}" type="presOf" srcId="{7146B2B5-DF38-1A4A-BC49-5D3B91085D94}" destId="{6005B5E2-96BA-4846-89CB-B7EB281442BB}" srcOrd="0" destOrd="0" presId="urn:microsoft.com/office/officeart/2005/8/layout/process4"/>
    <dgm:cxn modelId="{28C4418F-A679-4349-B81A-DBFC617D67CA}" srcId="{C291AFB2-99F4-744D-AED2-C38778982BDE}" destId="{D56235BB-A3C6-4F44-BD1C-109EF5F9B34F}" srcOrd="5" destOrd="0" parTransId="{98B83FDD-B783-6542-A232-DE472015FCFC}" sibTransId="{AC4261F4-1AAD-6645-83BA-F6763C1070F0}"/>
    <dgm:cxn modelId="{9AE2A890-F3C5-1447-9626-67668FDB6B34}" srcId="{C291AFB2-99F4-744D-AED2-C38778982BDE}" destId="{7146B2B5-DF38-1A4A-BC49-5D3B91085D94}" srcOrd="1" destOrd="0" parTransId="{E45FFBE7-D672-7741-A94D-C2E3011F5DF1}" sibTransId="{15086D4D-BACB-8D4C-B268-7193F9DF364E}"/>
    <dgm:cxn modelId="{FEF33592-2881-6648-9E40-1CEEF262A926}" type="presOf" srcId="{C291AFB2-99F4-744D-AED2-C38778982BDE}" destId="{4474670F-E02B-1D4C-8E33-B41CF1947ED9}" srcOrd="0" destOrd="0" presId="urn:microsoft.com/office/officeart/2005/8/layout/process4"/>
    <dgm:cxn modelId="{858F9E92-0899-3945-B5FB-EA8C12743E59}" type="presOf" srcId="{8EB28CCB-983E-9444-9E85-A4CE838B0E3D}" destId="{6C77FDDF-0215-CE42-A553-6EC759DA31DB}" srcOrd="0" destOrd="0" presId="urn:microsoft.com/office/officeart/2005/8/layout/process4"/>
    <dgm:cxn modelId="{9BBE99A1-45C9-AF42-ABE6-FDEFAD09D2CA}" type="presOf" srcId="{9E112B80-C66A-314B-8A79-6F4A9B11C547}" destId="{4BA50EF8-6D84-6141-A810-9085B3E539EA}" srcOrd="0" destOrd="0" presId="urn:microsoft.com/office/officeart/2005/8/layout/process4"/>
    <dgm:cxn modelId="{BAA7D3A3-9F59-F24A-99F6-E7D849AC231C}" srcId="{C291AFB2-99F4-744D-AED2-C38778982BDE}" destId="{BC2D7B5D-0F46-B44A-9546-3CA4D8E9274B}" srcOrd="6" destOrd="0" parTransId="{086A63F6-447F-324D-A2AF-A994EB642D5F}" sibTransId="{E01C1AB5-F148-9C49-BA44-7AD9D1F50AA7}"/>
    <dgm:cxn modelId="{78DC50A4-E1F7-3A40-B4C3-1482EA918A8B}" srcId="{C291AFB2-99F4-744D-AED2-C38778982BDE}" destId="{6649E9D5-3890-694C-9D11-F90E62AFEF68}" srcOrd="4" destOrd="0" parTransId="{A486A662-C7B0-7744-83FE-C03C8BBD2CED}" sibTransId="{F084B77E-467B-0C48-B120-7F517896F1E1}"/>
    <dgm:cxn modelId="{564616A7-4DA9-774C-A8EC-9257C2F38512}" type="presOf" srcId="{28A7302C-EFE8-0D4B-BDC6-FB863A78F866}" destId="{A066E824-FEDC-EB4A-88BA-305AC22D57B4}" srcOrd="1" destOrd="0" presId="urn:microsoft.com/office/officeart/2005/8/layout/process4"/>
    <dgm:cxn modelId="{7431AAB8-055C-7A4C-A6E9-4D183DEC35EB}" srcId="{28A7302C-EFE8-0D4B-BDC6-FB863A78F866}" destId="{796EA846-AD88-2443-B03E-C5405454F683}" srcOrd="0" destOrd="0" parTransId="{8EC83194-7F8D-3749-87DD-CD3DB408EC5A}" sibTransId="{1883EABD-5FA8-F04A-A087-BAD275A10BB9}"/>
    <dgm:cxn modelId="{58FD26C0-AF67-544C-8CA6-043BA3BA5BE0}" type="presOf" srcId="{6649E9D5-3890-694C-9D11-F90E62AFEF68}" destId="{E3F09750-B98D-6946-8E24-4F38880C729A}" srcOrd="0" destOrd="0" presId="urn:microsoft.com/office/officeart/2005/8/layout/process4"/>
    <dgm:cxn modelId="{08CA16CC-65A4-5A45-B074-FF402E07F3E9}" type="presOf" srcId="{E0D01C91-BE30-2743-86D1-81FE17C208C4}" destId="{5BEF42B0-2EA9-DC4C-8D73-F9D8F84851EF}" srcOrd="1" destOrd="0" presId="urn:microsoft.com/office/officeart/2005/8/layout/process4"/>
    <dgm:cxn modelId="{AEB1C6D0-3405-B84B-BFFC-1244DCEE9331}" srcId="{6649E9D5-3890-694C-9D11-F90E62AFEF68}" destId="{9E112B80-C66A-314B-8A79-6F4A9B11C547}" srcOrd="0" destOrd="0" parTransId="{CB74449C-D0BE-3147-8BE9-43952818FA28}" sibTransId="{925B24A1-108D-CF4B-A908-C7355826DDDC}"/>
    <dgm:cxn modelId="{A1D157D3-0C68-3B41-9738-CF635B0B1896}" type="presOf" srcId="{BC2D7B5D-0F46-B44A-9546-3CA4D8E9274B}" destId="{798970B6-9666-4347-BBA0-57354925EC27}" srcOrd="0" destOrd="0" presId="urn:microsoft.com/office/officeart/2005/8/layout/process4"/>
    <dgm:cxn modelId="{99B46FD4-8568-F948-AFC2-982E2CFFCAF9}" srcId="{E0D01C91-BE30-2743-86D1-81FE17C208C4}" destId="{C2D79976-A391-B343-84D9-24C7C7A229BC}" srcOrd="0" destOrd="0" parTransId="{F85A8276-67B7-0348-AAA5-D0B276F91CCC}" sibTransId="{061D3D94-C7C6-6D40-BF6C-F976170EF7C4}"/>
    <dgm:cxn modelId="{71BB9ADB-27B7-C94A-BA6F-A6E7494FA63D}" type="presOf" srcId="{BC2D7B5D-0F46-B44A-9546-3CA4D8E9274B}" destId="{A60789C4-0FE7-AF41-A35C-E52A37B96AD5}" srcOrd="1" destOrd="0" presId="urn:microsoft.com/office/officeart/2005/8/layout/process4"/>
    <dgm:cxn modelId="{B2A2B9DD-52EA-6E42-BFD8-28C97CF0A30F}" type="presOf" srcId="{0596BEB0-A057-CE49-B5D6-0D8CD3D22971}" destId="{5962EBDC-EDBC-EB43-BFEC-72F4C54D49B0}" srcOrd="1" destOrd="0" presId="urn:microsoft.com/office/officeart/2005/8/layout/process4"/>
    <dgm:cxn modelId="{912BE4E1-E14C-594E-AD21-3CF39A10B3CB}" srcId="{BC2D7B5D-0F46-B44A-9546-3CA4D8E9274B}" destId="{2C9FDA07-5EA9-8847-81CB-983F83727CB9}" srcOrd="0" destOrd="0" parTransId="{0CED0E64-7690-824F-8C80-7B74756AEE0F}" sibTransId="{9F7BB376-641F-9047-8ED8-07C5CF5E631C}"/>
    <dgm:cxn modelId="{825BF0E4-7381-FF4F-95F2-1D67E4D4537A}" type="presOf" srcId="{911F1C08-7413-DD4D-BD97-E2EACE9F4D3E}" destId="{74B91347-A050-5644-957B-058B79469465}" srcOrd="0" destOrd="0" presId="urn:microsoft.com/office/officeart/2005/8/layout/process4"/>
    <dgm:cxn modelId="{BA9A09E5-5D01-8D4D-A271-871DDC478BF5}" type="presOf" srcId="{E0D01C91-BE30-2743-86D1-81FE17C208C4}" destId="{88AA369F-1B5E-6643-8673-1CB65EB1C447}" srcOrd="0" destOrd="0" presId="urn:microsoft.com/office/officeart/2005/8/layout/process4"/>
    <dgm:cxn modelId="{2788D1E5-6AFF-7A4B-A449-58C14C324BE0}" srcId="{C291AFB2-99F4-744D-AED2-C38778982BDE}" destId="{911F1C08-7413-DD4D-BD97-E2EACE9F4D3E}" srcOrd="7" destOrd="0" parTransId="{20713B4E-F76E-3940-9E5D-866A8959A283}" sibTransId="{621D49AC-D1CE-AC45-B03A-1AF3954B976A}"/>
    <dgm:cxn modelId="{6A23B3E6-B054-DD42-B2F5-4DD89C75971D}" type="presOf" srcId="{7146B2B5-DF38-1A4A-BC49-5D3B91085D94}" destId="{814B1545-A225-E24B-B910-8E0CCD464B45}" srcOrd="1" destOrd="0" presId="urn:microsoft.com/office/officeart/2005/8/layout/process4"/>
    <dgm:cxn modelId="{8935FCEA-9B3D-2C48-BEAD-B2327EDE58DC}" srcId="{D56235BB-A3C6-4F44-BD1C-109EF5F9B34F}" destId="{997D8610-309F-244B-A55D-C89F14EC64D7}" srcOrd="0" destOrd="0" parTransId="{DECAC62A-4BB8-7E42-BFFC-12C3D1EBDD65}" sibTransId="{9DFD5A2E-DE60-F541-920C-FB9E53C380DD}"/>
    <dgm:cxn modelId="{3EDA32EC-5544-B14C-A24B-B13153715FED}" type="presOf" srcId="{153FCC07-828A-CE44-AB60-DFB90425D8CC}" destId="{5A88BCBD-7676-DA4D-B96E-98120A4ECF34}" srcOrd="0" destOrd="0" presId="urn:microsoft.com/office/officeart/2005/8/layout/process4"/>
    <dgm:cxn modelId="{007724F6-4610-8B40-8F78-F878618F866E}" type="presOf" srcId="{D56235BB-A3C6-4F44-BD1C-109EF5F9B34F}" destId="{88F9B580-2CEC-8A4A-A3A7-5D351011590B}" srcOrd="0" destOrd="0" presId="urn:microsoft.com/office/officeart/2005/8/layout/process4"/>
    <dgm:cxn modelId="{997B45F8-64B0-F546-A900-149440EF1D67}" type="presOf" srcId="{DBF18ACE-458B-7340-B119-2E3BB9331EB2}" destId="{0ACAFA1A-E2A6-FD40-A2B0-6521A6DDA0DD}" srcOrd="0" destOrd="0" presId="urn:microsoft.com/office/officeart/2005/8/layout/process4"/>
    <dgm:cxn modelId="{F7A103FA-CCDD-BA40-A037-2B5A1EAC6EF2}" type="presOf" srcId="{911F1C08-7413-DD4D-BD97-E2EACE9F4D3E}" destId="{36F910F0-99A4-C848-836C-1101B8C50CA0}" srcOrd="1" destOrd="0" presId="urn:microsoft.com/office/officeart/2005/8/layout/process4"/>
    <dgm:cxn modelId="{CA5CD07C-7875-A04C-809D-76CF403CA5DC}" type="presParOf" srcId="{4474670F-E02B-1D4C-8E33-B41CF1947ED9}" destId="{56D5A64A-D773-9847-A9FF-5456592A645A}" srcOrd="0" destOrd="0" presId="urn:microsoft.com/office/officeart/2005/8/layout/process4"/>
    <dgm:cxn modelId="{C935678A-5DCE-FF4F-BD83-E301371DEEF7}" type="presParOf" srcId="{56D5A64A-D773-9847-A9FF-5456592A645A}" destId="{74B91347-A050-5644-957B-058B79469465}" srcOrd="0" destOrd="0" presId="urn:microsoft.com/office/officeart/2005/8/layout/process4"/>
    <dgm:cxn modelId="{405DA93F-116F-2D43-AA70-D15D24FAB72A}" type="presParOf" srcId="{56D5A64A-D773-9847-A9FF-5456592A645A}" destId="{36F910F0-99A4-C848-836C-1101B8C50CA0}" srcOrd="1" destOrd="0" presId="urn:microsoft.com/office/officeart/2005/8/layout/process4"/>
    <dgm:cxn modelId="{94AB04EE-F91B-B247-9493-CC9888D2806C}" type="presParOf" srcId="{56D5A64A-D773-9847-A9FF-5456592A645A}" destId="{C3FE6F95-A00E-8042-A933-66C0DD1BE644}" srcOrd="2" destOrd="0" presId="urn:microsoft.com/office/officeart/2005/8/layout/process4"/>
    <dgm:cxn modelId="{2B4CCD44-2C2C-9F4F-B813-00A4BD69171B}" type="presParOf" srcId="{C3FE6F95-A00E-8042-A933-66C0DD1BE644}" destId="{0ACAFA1A-E2A6-FD40-A2B0-6521A6DDA0DD}" srcOrd="0" destOrd="0" presId="urn:microsoft.com/office/officeart/2005/8/layout/process4"/>
    <dgm:cxn modelId="{7D8ED292-261F-9D4D-9D89-A477D2C4F17B}" type="presParOf" srcId="{4474670F-E02B-1D4C-8E33-B41CF1947ED9}" destId="{3D909ECC-7260-CF4A-8917-15507E4CC875}" srcOrd="1" destOrd="0" presId="urn:microsoft.com/office/officeart/2005/8/layout/process4"/>
    <dgm:cxn modelId="{F543813D-DD2A-064A-9163-AF375AF5E8E7}" type="presParOf" srcId="{4474670F-E02B-1D4C-8E33-B41CF1947ED9}" destId="{28096051-51CD-684A-B0ED-81C785FCAEA7}" srcOrd="2" destOrd="0" presId="urn:microsoft.com/office/officeart/2005/8/layout/process4"/>
    <dgm:cxn modelId="{A9A6FB8D-C2C2-0F47-A85F-97D60C672C58}" type="presParOf" srcId="{28096051-51CD-684A-B0ED-81C785FCAEA7}" destId="{798970B6-9666-4347-BBA0-57354925EC27}" srcOrd="0" destOrd="0" presId="urn:microsoft.com/office/officeart/2005/8/layout/process4"/>
    <dgm:cxn modelId="{F95CDC48-93AE-264A-829D-CFAD80616EA9}" type="presParOf" srcId="{28096051-51CD-684A-B0ED-81C785FCAEA7}" destId="{A60789C4-0FE7-AF41-A35C-E52A37B96AD5}" srcOrd="1" destOrd="0" presId="urn:microsoft.com/office/officeart/2005/8/layout/process4"/>
    <dgm:cxn modelId="{D419C4B1-5DF3-4047-BC85-8EB4400BB435}" type="presParOf" srcId="{28096051-51CD-684A-B0ED-81C785FCAEA7}" destId="{61927554-EF87-3640-9781-3FDEC9FD1923}" srcOrd="2" destOrd="0" presId="urn:microsoft.com/office/officeart/2005/8/layout/process4"/>
    <dgm:cxn modelId="{84AC7242-418E-7C4B-96F8-A13D2C4DF971}" type="presParOf" srcId="{61927554-EF87-3640-9781-3FDEC9FD1923}" destId="{CBD6CE25-C0B5-FA4B-ABC5-FAF9BAC151C7}" srcOrd="0" destOrd="0" presId="urn:microsoft.com/office/officeart/2005/8/layout/process4"/>
    <dgm:cxn modelId="{18025466-0599-B140-8638-4E3BE97CDFB5}" type="presParOf" srcId="{4474670F-E02B-1D4C-8E33-B41CF1947ED9}" destId="{A855E52D-2BDA-6442-A005-DC78DB5A4A56}" srcOrd="3" destOrd="0" presId="urn:microsoft.com/office/officeart/2005/8/layout/process4"/>
    <dgm:cxn modelId="{9D96BE11-2AB9-5743-8956-A152085FAD57}" type="presParOf" srcId="{4474670F-E02B-1D4C-8E33-B41CF1947ED9}" destId="{26F83253-0BDB-D340-ABBC-9FE2EDBC62C5}" srcOrd="4" destOrd="0" presId="urn:microsoft.com/office/officeart/2005/8/layout/process4"/>
    <dgm:cxn modelId="{B045D67E-609A-CB4A-9615-ACD329C356B0}" type="presParOf" srcId="{26F83253-0BDB-D340-ABBC-9FE2EDBC62C5}" destId="{88F9B580-2CEC-8A4A-A3A7-5D351011590B}" srcOrd="0" destOrd="0" presId="urn:microsoft.com/office/officeart/2005/8/layout/process4"/>
    <dgm:cxn modelId="{93A8E633-00B8-764F-9B7C-4950C7A151AE}" type="presParOf" srcId="{26F83253-0BDB-D340-ABBC-9FE2EDBC62C5}" destId="{ABD765D8-4567-7C45-9416-36A9951DFD3E}" srcOrd="1" destOrd="0" presId="urn:microsoft.com/office/officeart/2005/8/layout/process4"/>
    <dgm:cxn modelId="{F916DBF5-F980-784A-B140-B15431E6EC25}" type="presParOf" srcId="{26F83253-0BDB-D340-ABBC-9FE2EDBC62C5}" destId="{3B8B0D45-FE4A-9F44-934F-58BE56D3B51F}" srcOrd="2" destOrd="0" presId="urn:microsoft.com/office/officeart/2005/8/layout/process4"/>
    <dgm:cxn modelId="{8B3155AA-5EBF-3C48-A944-8103ABDD26A6}" type="presParOf" srcId="{3B8B0D45-FE4A-9F44-934F-58BE56D3B51F}" destId="{255CF012-590D-A74E-AB03-61D53C567F8B}" srcOrd="0" destOrd="0" presId="urn:microsoft.com/office/officeart/2005/8/layout/process4"/>
    <dgm:cxn modelId="{D554B2C0-97FE-994F-92E6-CEA8D7AADAC2}" type="presParOf" srcId="{4474670F-E02B-1D4C-8E33-B41CF1947ED9}" destId="{6AAA62B2-814E-FA4B-8BF1-C5BE8452423E}" srcOrd="5" destOrd="0" presId="urn:microsoft.com/office/officeart/2005/8/layout/process4"/>
    <dgm:cxn modelId="{B9D91DD7-AB1B-AC48-8C38-AA8E8EFDF3CD}" type="presParOf" srcId="{4474670F-E02B-1D4C-8E33-B41CF1947ED9}" destId="{80702AA9-2C67-D347-BACB-03C93B951A22}" srcOrd="6" destOrd="0" presId="urn:microsoft.com/office/officeart/2005/8/layout/process4"/>
    <dgm:cxn modelId="{0926C12A-3C4A-2E4A-92B8-2A9DF7E028F5}" type="presParOf" srcId="{80702AA9-2C67-D347-BACB-03C93B951A22}" destId="{E3F09750-B98D-6946-8E24-4F38880C729A}" srcOrd="0" destOrd="0" presId="urn:microsoft.com/office/officeart/2005/8/layout/process4"/>
    <dgm:cxn modelId="{EC43A984-955C-DC43-95B8-6D8BEDF2BE56}" type="presParOf" srcId="{80702AA9-2C67-D347-BACB-03C93B951A22}" destId="{A84D6EB9-72BB-D542-B2EB-88607C7BDFF9}" srcOrd="1" destOrd="0" presId="urn:microsoft.com/office/officeart/2005/8/layout/process4"/>
    <dgm:cxn modelId="{FB0A9CCD-00BA-A244-9CB6-FAC1627B18C7}" type="presParOf" srcId="{80702AA9-2C67-D347-BACB-03C93B951A22}" destId="{EC10142E-6210-E840-B55C-30D07224855D}" srcOrd="2" destOrd="0" presId="urn:microsoft.com/office/officeart/2005/8/layout/process4"/>
    <dgm:cxn modelId="{F0503FB6-D345-6649-B3B9-F7258DA714A4}" type="presParOf" srcId="{EC10142E-6210-E840-B55C-30D07224855D}" destId="{4BA50EF8-6D84-6141-A810-9085B3E539EA}" srcOrd="0" destOrd="0" presId="urn:microsoft.com/office/officeart/2005/8/layout/process4"/>
    <dgm:cxn modelId="{0BC5F5C6-50C3-1A45-A62D-D2C0F82E583E}" type="presParOf" srcId="{4474670F-E02B-1D4C-8E33-B41CF1947ED9}" destId="{BEFE3282-16E2-2B4C-9950-4CC88FB878A9}" srcOrd="7" destOrd="0" presId="urn:microsoft.com/office/officeart/2005/8/layout/process4"/>
    <dgm:cxn modelId="{93570B8A-2F6F-4949-AC29-6691F41B36BF}" type="presParOf" srcId="{4474670F-E02B-1D4C-8E33-B41CF1947ED9}" destId="{F1FA682E-2464-C844-9409-7ED0FA5D560B}" srcOrd="8" destOrd="0" presId="urn:microsoft.com/office/officeart/2005/8/layout/process4"/>
    <dgm:cxn modelId="{342B00FE-65C6-C141-B1BB-C80BA5904C1F}" type="presParOf" srcId="{F1FA682E-2464-C844-9409-7ED0FA5D560B}" destId="{5F5C1BF3-8CAB-D548-BBEE-0EC54C51F8E1}" srcOrd="0" destOrd="0" presId="urn:microsoft.com/office/officeart/2005/8/layout/process4"/>
    <dgm:cxn modelId="{F7C639A4-7949-A64C-932B-8BCA952EBA10}" type="presParOf" srcId="{F1FA682E-2464-C844-9409-7ED0FA5D560B}" destId="{A066E824-FEDC-EB4A-88BA-305AC22D57B4}" srcOrd="1" destOrd="0" presId="urn:microsoft.com/office/officeart/2005/8/layout/process4"/>
    <dgm:cxn modelId="{A316A677-E4AE-8B43-B7C5-A194036F35B6}" type="presParOf" srcId="{F1FA682E-2464-C844-9409-7ED0FA5D560B}" destId="{67C523EA-EB3E-1642-AE05-3E632B1DA645}" srcOrd="2" destOrd="0" presId="urn:microsoft.com/office/officeart/2005/8/layout/process4"/>
    <dgm:cxn modelId="{9DAFFFAD-D2A4-F14E-8A81-9B707CB92F26}" type="presParOf" srcId="{67C523EA-EB3E-1642-AE05-3E632B1DA645}" destId="{50A67DB9-79F5-1D47-8C80-9BD1675366DC}" srcOrd="0" destOrd="0" presId="urn:microsoft.com/office/officeart/2005/8/layout/process4"/>
    <dgm:cxn modelId="{5C389006-E242-1049-96D8-065D5D78BFC1}" type="presParOf" srcId="{4474670F-E02B-1D4C-8E33-B41CF1947ED9}" destId="{008C26F5-7166-2445-A636-1F5FBC5BB5D0}" srcOrd="9" destOrd="0" presId="urn:microsoft.com/office/officeart/2005/8/layout/process4"/>
    <dgm:cxn modelId="{2B924CEA-C44B-974A-96B6-62152B9D5F42}" type="presParOf" srcId="{4474670F-E02B-1D4C-8E33-B41CF1947ED9}" destId="{C2DAEA44-3D94-DA48-8792-B71992E2634C}" srcOrd="10" destOrd="0" presId="urn:microsoft.com/office/officeart/2005/8/layout/process4"/>
    <dgm:cxn modelId="{169B9F58-EB3F-9047-878A-B40B029BADEB}" type="presParOf" srcId="{C2DAEA44-3D94-DA48-8792-B71992E2634C}" destId="{CA8F7F74-4DF4-4F46-9B1D-BE3BB3D8AB72}" srcOrd="0" destOrd="0" presId="urn:microsoft.com/office/officeart/2005/8/layout/process4"/>
    <dgm:cxn modelId="{C4E7CEF5-BFDD-4743-8A1E-321B7E0149FA}" type="presParOf" srcId="{C2DAEA44-3D94-DA48-8792-B71992E2634C}" destId="{5962EBDC-EDBC-EB43-BFEC-72F4C54D49B0}" srcOrd="1" destOrd="0" presId="urn:microsoft.com/office/officeart/2005/8/layout/process4"/>
    <dgm:cxn modelId="{E74A4487-CFA1-8B4E-A0CE-13AEB0105AA7}" type="presParOf" srcId="{C2DAEA44-3D94-DA48-8792-B71992E2634C}" destId="{4B30E482-44E6-FD4F-AECF-B3084DA6BFB9}" srcOrd="2" destOrd="0" presId="urn:microsoft.com/office/officeart/2005/8/layout/process4"/>
    <dgm:cxn modelId="{9643361C-6828-5B48-9EF5-9F9DA45B812D}" type="presParOf" srcId="{4B30E482-44E6-FD4F-AECF-B3084DA6BFB9}" destId="{6C77FDDF-0215-CE42-A553-6EC759DA31DB}" srcOrd="0" destOrd="0" presId="urn:microsoft.com/office/officeart/2005/8/layout/process4"/>
    <dgm:cxn modelId="{4D64EE2F-B5B0-0443-B3E8-06BC033E7099}" type="presParOf" srcId="{4474670F-E02B-1D4C-8E33-B41CF1947ED9}" destId="{1BF500A0-DE17-3E4C-B637-58C8531F3A06}" srcOrd="11" destOrd="0" presId="urn:microsoft.com/office/officeart/2005/8/layout/process4"/>
    <dgm:cxn modelId="{7AA279D6-9C7E-4446-8475-D2AF0C1648C4}" type="presParOf" srcId="{4474670F-E02B-1D4C-8E33-B41CF1947ED9}" destId="{2F7B6846-CB9A-764B-BB68-474CAF171E0F}" srcOrd="12" destOrd="0" presId="urn:microsoft.com/office/officeart/2005/8/layout/process4"/>
    <dgm:cxn modelId="{11DC1D8B-4A0F-0148-B59D-04944E813990}" type="presParOf" srcId="{2F7B6846-CB9A-764B-BB68-474CAF171E0F}" destId="{6005B5E2-96BA-4846-89CB-B7EB281442BB}" srcOrd="0" destOrd="0" presId="urn:microsoft.com/office/officeart/2005/8/layout/process4"/>
    <dgm:cxn modelId="{6453F21E-A9AB-4A43-A84F-0949D6224AF7}" type="presParOf" srcId="{2F7B6846-CB9A-764B-BB68-474CAF171E0F}" destId="{814B1545-A225-E24B-B910-8E0CCD464B45}" srcOrd="1" destOrd="0" presId="urn:microsoft.com/office/officeart/2005/8/layout/process4"/>
    <dgm:cxn modelId="{7B995FF5-7D3D-AE4A-833E-A9112940174B}" type="presParOf" srcId="{2F7B6846-CB9A-764B-BB68-474CAF171E0F}" destId="{CF262BFC-1A19-E743-9010-1B6E7E23DA2E}" srcOrd="2" destOrd="0" presId="urn:microsoft.com/office/officeart/2005/8/layout/process4"/>
    <dgm:cxn modelId="{FCC09392-7623-DA49-B418-773423DB2CF2}" type="presParOf" srcId="{CF262BFC-1A19-E743-9010-1B6E7E23DA2E}" destId="{5A88BCBD-7676-DA4D-B96E-98120A4ECF34}" srcOrd="0" destOrd="0" presId="urn:microsoft.com/office/officeart/2005/8/layout/process4"/>
    <dgm:cxn modelId="{CC6CBF25-0EAE-DD43-8818-77F5A202B810}" type="presParOf" srcId="{4474670F-E02B-1D4C-8E33-B41CF1947ED9}" destId="{F3F2614D-91A5-0249-BADB-13392EF9545A}" srcOrd="13" destOrd="0" presId="urn:microsoft.com/office/officeart/2005/8/layout/process4"/>
    <dgm:cxn modelId="{056F7D2C-8A2A-F941-BF59-E60225DBE5EB}" type="presParOf" srcId="{4474670F-E02B-1D4C-8E33-B41CF1947ED9}" destId="{D12321CE-7113-FF48-80F8-D4EE1567D513}" srcOrd="14" destOrd="0" presId="urn:microsoft.com/office/officeart/2005/8/layout/process4"/>
    <dgm:cxn modelId="{5D008DD3-9A55-494C-B2DB-2CFD1DA19B2C}" type="presParOf" srcId="{D12321CE-7113-FF48-80F8-D4EE1567D513}" destId="{88AA369F-1B5E-6643-8673-1CB65EB1C447}" srcOrd="0" destOrd="0" presId="urn:microsoft.com/office/officeart/2005/8/layout/process4"/>
    <dgm:cxn modelId="{87F54DE7-46E6-0846-971D-D53C977F8907}" type="presParOf" srcId="{D12321CE-7113-FF48-80F8-D4EE1567D513}" destId="{5BEF42B0-2EA9-DC4C-8D73-F9D8F84851EF}" srcOrd="1" destOrd="0" presId="urn:microsoft.com/office/officeart/2005/8/layout/process4"/>
    <dgm:cxn modelId="{B49B7D04-E4C0-7F44-95F7-94E17350837B}" type="presParOf" srcId="{D12321CE-7113-FF48-80F8-D4EE1567D513}" destId="{703B7DAA-37AE-E944-B824-88C6C0DCBE80}" srcOrd="2" destOrd="0" presId="urn:microsoft.com/office/officeart/2005/8/layout/process4"/>
    <dgm:cxn modelId="{B5D99A22-EF83-AC42-B33C-6E8F30967C68}" type="presParOf" srcId="{703B7DAA-37AE-E944-B824-88C6C0DCBE80}" destId="{1FFD4D36-5EF8-3349-A042-0E273035ED14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291AFB2-99F4-744D-AED2-C38778982BDE}" type="doc">
      <dgm:prSet loTypeId="urn:microsoft.com/office/officeart/2005/8/layout/process4" loCatId="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zh-CN" altLang="en-US"/>
        </a:p>
      </dgm:t>
    </dgm:pt>
    <dgm:pt modelId="{E0D01C91-BE30-2743-86D1-81FE17C208C4}">
      <dgm:prSet phldrT="[文本]" custT="1"/>
      <dgm:spPr/>
      <dgm:t>
        <a:bodyPr/>
        <a:lstStyle/>
        <a:p>
          <a:r>
            <a:rPr lang="en-US" altLang="zh-CN" sz="1600" dirty="0"/>
            <a:t>gru_1 </a:t>
          </a:r>
          <a:r>
            <a:rPr lang="de-DE" altLang="zh-CN" sz="1600" dirty="0"/>
            <a:t>(Units=64, Dropout=0,1)</a:t>
          </a:r>
          <a:endParaRPr lang="zh-CN" altLang="en-US" sz="1600" dirty="0"/>
        </a:p>
      </dgm:t>
    </dgm:pt>
    <dgm:pt modelId="{E350DE74-F585-B640-9DEB-07C2CE5EF430}" type="parTrans" cxnId="{B24A5627-00F6-524B-AC96-09C4ED749A72}">
      <dgm:prSet/>
      <dgm:spPr/>
      <dgm:t>
        <a:bodyPr/>
        <a:lstStyle/>
        <a:p>
          <a:endParaRPr lang="zh-CN" altLang="en-US"/>
        </a:p>
      </dgm:t>
    </dgm:pt>
    <dgm:pt modelId="{4E97798E-8A19-C443-AB54-07331D6D2C29}" type="sibTrans" cxnId="{B24A5627-00F6-524B-AC96-09C4ED749A72}">
      <dgm:prSet/>
      <dgm:spPr/>
      <dgm:t>
        <a:bodyPr/>
        <a:lstStyle/>
        <a:p>
          <a:endParaRPr lang="zh-CN" altLang="en-US"/>
        </a:p>
      </dgm:t>
    </dgm:pt>
    <dgm:pt modelId="{C2D79976-A391-B343-84D9-24C7C7A229BC}">
      <dgm:prSet phldrT="[文本]" custT="1"/>
      <dgm:spPr/>
      <dgm:t>
        <a:bodyPr/>
        <a:lstStyle/>
        <a:p>
          <a:r>
            <a:rPr lang="de-DE" altLang="zh-CN" sz="1600" dirty="0"/>
            <a:t>250 X 64</a:t>
          </a:r>
          <a:endParaRPr lang="zh-CN" altLang="en-US" sz="1600" dirty="0"/>
        </a:p>
      </dgm:t>
    </dgm:pt>
    <dgm:pt modelId="{F85A8276-67B7-0348-AAA5-D0B276F91CCC}" type="parTrans" cxnId="{99B46FD4-8568-F948-AFC2-982E2CFFCAF9}">
      <dgm:prSet/>
      <dgm:spPr/>
      <dgm:t>
        <a:bodyPr/>
        <a:lstStyle/>
        <a:p>
          <a:endParaRPr lang="zh-CN" altLang="en-US"/>
        </a:p>
      </dgm:t>
    </dgm:pt>
    <dgm:pt modelId="{061D3D94-C7C6-6D40-BF6C-F976170EF7C4}" type="sibTrans" cxnId="{99B46FD4-8568-F948-AFC2-982E2CFFCAF9}">
      <dgm:prSet/>
      <dgm:spPr/>
      <dgm:t>
        <a:bodyPr/>
        <a:lstStyle/>
        <a:p>
          <a:endParaRPr lang="zh-CN" altLang="en-US"/>
        </a:p>
      </dgm:t>
    </dgm:pt>
    <dgm:pt modelId="{7146B2B5-DF38-1A4A-BC49-5D3B91085D94}">
      <dgm:prSet phldrT="[文本]" custT="1"/>
      <dgm:spPr/>
      <dgm:t>
        <a:bodyPr/>
        <a:lstStyle/>
        <a:p>
          <a:r>
            <a:rPr lang="de-DE" altLang="zh-CN" sz="1600" dirty="0"/>
            <a:t>gru_2 (Units=64, Dropout=0,1)</a:t>
          </a:r>
          <a:endParaRPr lang="zh-CN" altLang="en-US" sz="1600" dirty="0"/>
        </a:p>
      </dgm:t>
    </dgm:pt>
    <dgm:pt modelId="{E45FFBE7-D672-7741-A94D-C2E3011F5DF1}" type="parTrans" cxnId="{9AE2A890-F3C5-1447-9626-67668FDB6B34}">
      <dgm:prSet/>
      <dgm:spPr/>
      <dgm:t>
        <a:bodyPr/>
        <a:lstStyle/>
        <a:p>
          <a:endParaRPr lang="zh-CN" altLang="en-US"/>
        </a:p>
      </dgm:t>
    </dgm:pt>
    <dgm:pt modelId="{15086D4D-BACB-8D4C-B268-7193F9DF364E}" type="sibTrans" cxnId="{9AE2A890-F3C5-1447-9626-67668FDB6B34}">
      <dgm:prSet/>
      <dgm:spPr/>
      <dgm:t>
        <a:bodyPr/>
        <a:lstStyle/>
        <a:p>
          <a:endParaRPr lang="zh-CN" altLang="en-US"/>
        </a:p>
      </dgm:t>
    </dgm:pt>
    <dgm:pt modelId="{153FCC07-828A-CE44-AB60-DFB90425D8CC}">
      <dgm:prSet phldrT="[文本]" custT="1"/>
      <dgm:spPr/>
      <dgm:t>
        <a:bodyPr/>
        <a:lstStyle/>
        <a:p>
          <a:r>
            <a:rPr lang="de-DE" altLang="zh-CN" sz="1600" dirty="0"/>
            <a:t>125 X 64</a:t>
          </a:r>
          <a:endParaRPr lang="zh-CN" altLang="en-US" sz="1600" dirty="0"/>
        </a:p>
      </dgm:t>
    </dgm:pt>
    <dgm:pt modelId="{B89E589B-A585-6D40-A16E-EF55A1145173}" type="parTrans" cxnId="{20B86A38-93FA-414B-B8C8-C05F4FB16DC2}">
      <dgm:prSet/>
      <dgm:spPr/>
      <dgm:t>
        <a:bodyPr/>
        <a:lstStyle/>
        <a:p>
          <a:endParaRPr lang="zh-CN" altLang="en-US"/>
        </a:p>
      </dgm:t>
    </dgm:pt>
    <dgm:pt modelId="{8A7617CC-4217-4D43-AE2C-A5596E382127}" type="sibTrans" cxnId="{20B86A38-93FA-414B-B8C8-C05F4FB16DC2}">
      <dgm:prSet/>
      <dgm:spPr/>
      <dgm:t>
        <a:bodyPr/>
        <a:lstStyle/>
        <a:p>
          <a:endParaRPr lang="zh-CN" altLang="en-US"/>
        </a:p>
      </dgm:t>
    </dgm:pt>
    <dgm:pt modelId="{8EB28CCB-983E-9444-9E85-A4CE838B0E3D}">
      <dgm:prSet phldrT="[文本]" custT="1"/>
      <dgm:spPr/>
      <dgm:t>
        <a:bodyPr/>
        <a:lstStyle/>
        <a:p>
          <a:r>
            <a:rPr lang="de-DE" altLang="zh-CN" sz="1600" dirty="0"/>
            <a:t>62 X 64</a:t>
          </a:r>
          <a:endParaRPr lang="zh-CN" altLang="en-US" sz="1600" dirty="0"/>
        </a:p>
      </dgm:t>
    </dgm:pt>
    <dgm:pt modelId="{20284E7E-8367-A94E-8660-0A3D4F00B651}" type="parTrans" cxnId="{0F4C255B-2D30-3B43-A624-637621B051AF}">
      <dgm:prSet/>
      <dgm:spPr/>
      <dgm:t>
        <a:bodyPr/>
        <a:lstStyle/>
        <a:p>
          <a:endParaRPr lang="zh-CN" altLang="en-US"/>
        </a:p>
      </dgm:t>
    </dgm:pt>
    <dgm:pt modelId="{50B3FA4C-239B-0046-897E-7F86B98DAF05}" type="sibTrans" cxnId="{0F4C255B-2D30-3B43-A624-637621B051AF}">
      <dgm:prSet/>
      <dgm:spPr/>
      <dgm:t>
        <a:bodyPr/>
        <a:lstStyle/>
        <a:p>
          <a:endParaRPr lang="zh-CN" altLang="en-US"/>
        </a:p>
      </dgm:t>
    </dgm:pt>
    <dgm:pt modelId="{28A7302C-EFE8-0D4B-BDC6-FB863A78F866}">
      <dgm:prSet phldrT="[文本]" custT="1"/>
      <dgm:spPr/>
      <dgm:t>
        <a:bodyPr/>
        <a:lstStyle/>
        <a:p>
          <a:r>
            <a:rPr lang="de-DE" altLang="zh-CN" sz="1600" dirty="0"/>
            <a:t>gru_4 (Units=64, Dropout=0,1)</a:t>
          </a:r>
          <a:endParaRPr lang="zh-CN" altLang="en-US" sz="1600" dirty="0"/>
        </a:p>
      </dgm:t>
    </dgm:pt>
    <dgm:pt modelId="{26AB26EC-5928-A14E-A2EA-08DC03D9501B}" type="parTrans" cxnId="{5F559533-1418-6C4F-BBAD-5CE10B530D7B}">
      <dgm:prSet/>
      <dgm:spPr/>
      <dgm:t>
        <a:bodyPr/>
        <a:lstStyle/>
        <a:p>
          <a:endParaRPr lang="zh-CN" altLang="en-US"/>
        </a:p>
      </dgm:t>
    </dgm:pt>
    <dgm:pt modelId="{CA4F216C-2E63-D44F-A22F-DF301DCD4F46}" type="sibTrans" cxnId="{5F559533-1418-6C4F-BBAD-5CE10B530D7B}">
      <dgm:prSet/>
      <dgm:spPr/>
      <dgm:t>
        <a:bodyPr/>
        <a:lstStyle/>
        <a:p>
          <a:endParaRPr lang="zh-CN" altLang="en-US"/>
        </a:p>
      </dgm:t>
    </dgm:pt>
    <dgm:pt modelId="{796EA846-AD88-2443-B03E-C5405454F683}">
      <dgm:prSet custT="1"/>
      <dgm:spPr/>
      <dgm:t>
        <a:bodyPr/>
        <a:lstStyle/>
        <a:p>
          <a:r>
            <a:rPr lang="de-DE" altLang="zh-CN" sz="1600" dirty="0"/>
            <a:t>64</a:t>
          </a:r>
          <a:endParaRPr lang="zh-CN" altLang="en-US" sz="1600" dirty="0"/>
        </a:p>
      </dgm:t>
    </dgm:pt>
    <dgm:pt modelId="{8EC83194-7F8D-3749-87DD-CD3DB408EC5A}" type="parTrans" cxnId="{7431AAB8-055C-7A4C-A6E9-4D183DEC35EB}">
      <dgm:prSet/>
      <dgm:spPr/>
      <dgm:t>
        <a:bodyPr/>
        <a:lstStyle/>
        <a:p>
          <a:endParaRPr lang="zh-CN" altLang="en-US"/>
        </a:p>
      </dgm:t>
    </dgm:pt>
    <dgm:pt modelId="{1883EABD-5FA8-F04A-A087-BAD275A10BB9}" type="sibTrans" cxnId="{7431AAB8-055C-7A4C-A6E9-4D183DEC35EB}">
      <dgm:prSet/>
      <dgm:spPr/>
      <dgm:t>
        <a:bodyPr/>
        <a:lstStyle/>
        <a:p>
          <a:endParaRPr lang="zh-CN" altLang="en-US"/>
        </a:p>
      </dgm:t>
    </dgm:pt>
    <dgm:pt modelId="{D56235BB-A3C6-4F44-BD1C-109EF5F9B34F}">
      <dgm:prSet custT="1"/>
      <dgm:spPr/>
      <dgm:t>
        <a:bodyPr/>
        <a:lstStyle/>
        <a:p>
          <a:r>
            <a:rPr lang="de-DE" altLang="zh-CN" sz="1400" dirty="0"/>
            <a:t>dense layer_1 (Units=64, Dropout=0,3)</a:t>
          </a:r>
          <a:endParaRPr lang="zh-CN" altLang="en-US" sz="1400" dirty="0"/>
        </a:p>
      </dgm:t>
    </dgm:pt>
    <dgm:pt modelId="{98B83FDD-B783-6542-A232-DE472015FCFC}" type="parTrans" cxnId="{28C4418F-A679-4349-B81A-DBFC617D67CA}">
      <dgm:prSet/>
      <dgm:spPr/>
      <dgm:t>
        <a:bodyPr/>
        <a:lstStyle/>
        <a:p>
          <a:endParaRPr lang="zh-CN" altLang="en-US"/>
        </a:p>
      </dgm:t>
    </dgm:pt>
    <dgm:pt modelId="{AC4261F4-1AAD-6645-83BA-F6763C1070F0}" type="sibTrans" cxnId="{28C4418F-A679-4349-B81A-DBFC617D67CA}">
      <dgm:prSet/>
      <dgm:spPr/>
      <dgm:t>
        <a:bodyPr/>
        <a:lstStyle/>
        <a:p>
          <a:endParaRPr lang="zh-CN" altLang="en-US"/>
        </a:p>
      </dgm:t>
    </dgm:pt>
    <dgm:pt modelId="{997D8610-309F-244B-A55D-C89F14EC64D7}">
      <dgm:prSet custT="1"/>
      <dgm:spPr/>
      <dgm:t>
        <a:bodyPr/>
        <a:lstStyle/>
        <a:p>
          <a:r>
            <a:rPr lang="de-DE" altLang="zh-CN" sz="1600" dirty="0"/>
            <a:t>64</a:t>
          </a:r>
          <a:endParaRPr lang="zh-CN" altLang="en-US" sz="1600" dirty="0"/>
        </a:p>
      </dgm:t>
    </dgm:pt>
    <dgm:pt modelId="{DECAC62A-4BB8-7E42-BFFC-12C3D1EBDD65}" type="parTrans" cxnId="{8935FCEA-9B3D-2C48-BEAD-B2327EDE58DC}">
      <dgm:prSet/>
      <dgm:spPr/>
      <dgm:t>
        <a:bodyPr/>
        <a:lstStyle/>
        <a:p>
          <a:endParaRPr lang="zh-CN" altLang="en-US"/>
        </a:p>
      </dgm:t>
    </dgm:pt>
    <dgm:pt modelId="{9DFD5A2E-DE60-F541-920C-FB9E53C380DD}" type="sibTrans" cxnId="{8935FCEA-9B3D-2C48-BEAD-B2327EDE58DC}">
      <dgm:prSet/>
      <dgm:spPr/>
      <dgm:t>
        <a:bodyPr/>
        <a:lstStyle/>
        <a:p>
          <a:endParaRPr lang="zh-CN" altLang="en-US"/>
        </a:p>
      </dgm:t>
    </dgm:pt>
    <dgm:pt modelId="{BC2D7B5D-0F46-B44A-9546-3CA4D8E9274B}">
      <dgm:prSet custT="1"/>
      <dgm:spPr/>
      <dgm:t>
        <a:bodyPr/>
        <a:lstStyle/>
        <a:p>
          <a:r>
            <a:rPr lang="de-DE" altLang="zh-CN" sz="1600" dirty="0"/>
            <a:t>dense layer_2 ( Softmax)</a:t>
          </a:r>
          <a:endParaRPr lang="zh-CN" altLang="en-US" sz="1600" dirty="0"/>
        </a:p>
      </dgm:t>
    </dgm:pt>
    <dgm:pt modelId="{086A63F6-447F-324D-A2AF-A994EB642D5F}" type="parTrans" cxnId="{BAA7D3A3-9F59-F24A-99F6-E7D849AC231C}">
      <dgm:prSet/>
      <dgm:spPr/>
      <dgm:t>
        <a:bodyPr/>
        <a:lstStyle/>
        <a:p>
          <a:endParaRPr lang="zh-CN" altLang="en-US"/>
        </a:p>
      </dgm:t>
    </dgm:pt>
    <dgm:pt modelId="{E01C1AB5-F148-9C49-BA44-7AD9D1F50AA7}" type="sibTrans" cxnId="{BAA7D3A3-9F59-F24A-99F6-E7D849AC231C}">
      <dgm:prSet/>
      <dgm:spPr/>
      <dgm:t>
        <a:bodyPr/>
        <a:lstStyle/>
        <a:p>
          <a:endParaRPr lang="zh-CN" altLang="en-US"/>
        </a:p>
      </dgm:t>
    </dgm:pt>
    <dgm:pt modelId="{2C9FDA07-5EA9-8847-81CB-983F83727CB9}">
      <dgm:prSet custT="1"/>
      <dgm:spPr/>
      <dgm:t>
        <a:bodyPr/>
        <a:lstStyle/>
        <a:p>
          <a:r>
            <a:rPr lang="de-DE" altLang="zh-CN" sz="1600" dirty="0"/>
            <a:t>12</a:t>
          </a:r>
          <a:endParaRPr lang="zh-CN" altLang="en-US" sz="1600" dirty="0"/>
        </a:p>
      </dgm:t>
    </dgm:pt>
    <dgm:pt modelId="{0CED0E64-7690-824F-8C80-7B74756AEE0F}" type="parTrans" cxnId="{912BE4E1-E14C-594E-AD21-3CF39A10B3CB}">
      <dgm:prSet/>
      <dgm:spPr/>
      <dgm:t>
        <a:bodyPr/>
        <a:lstStyle/>
        <a:p>
          <a:endParaRPr lang="zh-CN" altLang="en-US"/>
        </a:p>
      </dgm:t>
    </dgm:pt>
    <dgm:pt modelId="{9F7BB376-641F-9047-8ED8-07C5CF5E631C}" type="sibTrans" cxnId="{912BE4E1-E14C-594E-AD21-3CF39A10B3CB}">
      <dgm:prSet/>
      <dgm:spPr/>
      <dgm:t>
        <a:bodyPr/>
        <a:lstStyle/>
        <a:p>
          <a:endParaRPr lang="zh-CN" altLang="en-US"/>
        </a:p>
      </dgm:t>
    </dgm:pt>
    <dgm:pt modelId="{0596BEB0-A057-CE49-B5D6-0D8CD3D22971}">
      <dgm:prSet phldrT="[文本]" custT="1"/>
      <dgm:spPr/>
      <dgm:t>
        <a:bodyPr/>
        <a:lstStyle/>
        <a:p>
          <a:r>
            <a:rPr lang="de-DE" altLang="zh-CN" sz="1600" dirty="0"/>
            <a:t>gru_3 (Units=64, Dropout=0,1)</a:t>
          </a:r>
          <a:endParaRPr lang="zh-CN" altLang="en-US" sz="1600" dirty="0"/>
        </a:p>
      </dgm:t>
    </dgm:pt>
    <dgm:pt modelId="{347E857B-DF95-2F49-AE7F-43CAFEDF2E56}" type="sibTrans" cxnId="{619E2F28-B79E-7E4C-BD53-24BF28F6FB45}">
      <dgm:prSet/>
      <dgm:spPr/>
      <dgm:t>
        <a:bodyPr/>
        <a:lstStyle/>
        <a:p>
          <a:endParaRPr lang="zh-CN" altLang="en-US"/>
        </a:p>
      </dgm:t>
    </dgm:pt>
    <dgm:pt modelId="{0E68276D-6929-1F42-A3AE-9A0211C706DF}" type="parTrans" cxnId="{619E2F28-B79E-7E4C-BD53-24BF28F6FB45}">
      <dgm:prSet/>
      <dgm:spPr/>
      <dgm:t>
        <a:bodyPr/>
        <a:lstStyle/>
        <a:p>
          <a:endParaRPr lang="zh-CN" altLang="en-US"/>
        </a:p>
      </dgm:t>
    </dgm:pt>
    <dgm:pt modelId="{4474670F-E02B-1D4C-8E33-B41CF1947ED9}" type="pres">
      <dgm:prSet presAssocID="{C291AFB2-99F4-744D-AED2-C38778982BDE}" presName="Name0" presStyleCnt="0">
        <dgm:presLayoutVars>
          <dgm:dir/>
          <dgm:animLvl val="lvl"/>
          <dgm:resizeHandles val="exact"/>
        </dgm:presLayoutVars>
      </dgm:prSet>
      <dgm:spPr/>
    </dgm:pt>
    <dgm:pt modelId="{B487D8A7-5344-F04A-B162-C635EB5D5486}" type="pres">
      <dgm:prSet presAssocID="{BC2D7B5D-0F46-B44A-9546-3CA4D8E9274B}" presName="boxAndChildren" presStyleCnt="0"/>
      <dgm:spPr/>
    </dgm:pt>
    <dgm:pt modelId="{E19E67C3-5D34-F048-AAA4-286CCE1AF0C5}" type="pres">
      <dgm:prSet presAssocID="{BC2D7B5D-0F46-B44A-9546-3CA4D8E9274B}" presName="parentTextBox" presStyleLbl="node1" presStyleIdx="0" presStyleCnt="6"/>
      <dgm:spPr/>
    </dgm:pt>
    <dgm:pt modelId="{6AC579D9-C8BD-7443-A58A-6C77C503CD73}" type="pres">
      <dgm:prSet presAssocID="{BC2D7B5D-0F46-B44A-9546-3CA4D8E9274B}" presName="entireBox" presStyleLbl="node1" presStyleIdx="0" presStyleCnt="6"/>
      <dgm:spPr/>
    </dgm:pt>
    <dgm:pt modelId="{4F8933FE-C466-E248-9178-28CFBE77020D}" type="pres">
      <dgm:prSet presAssocID="{BC2D7B5D-0F46-B44A-9546-3CA4D8E9274B}" presName="descendantBox" presStyleCnt="0"/>
      <dgm:spPr/>
    </dgm:pt>
    <dgm:pt modelId="{D5589B23-BD32-474A-A80F-EB17FC296D1E}" type="pres">
      <dgm:prSet presAssocID="{2C9FDA07-5EA9-8847-81CB-983F83727CB9}" presName="childTextBox" presStyleLbl="fgAccFollowNode1" presStyleIdx="0" presStyleCnt="6">
        <dgm:presLayoutVars>
          <dgm:bulletEnabled val="1"/>
        </dgm:presLayoutVars>
      </dgm:prSet>
      <dgm:spPr/>
    </dgm:pt>
    <dgm:pt modelId="{A855E52D-2BDA-6442-A005-DC78DB5A4A56}" type="pres">
      <dgm:prSet presAssocID="{AC4261F4-1AAD-6645-83BA-F6763C1070F0}" presName="sp" presStyleCnt="0"/>
      <dgm:spPr/>
    </dgm:pt>
    <dgm:pt modelId="{26F83253-0BDB-D340-ABBC-9FE2EDBC62C5}" type="pres">
      <dgm:prSet presAssocID="{D56235BB-A3C6-4F44-BD1C-109EF5F9B34F}" presName="arrowAndChildren" presStyleCnt="0"/>
      <dgm:spPr/>
    </dgm:pt>
    <dgm:pt modelId="{88F9B580-2CEC-8A4A-A3A7-5D351011590B}" type="pres">
      <dgm:prSet presAssocID="{D56235BB-A3C6-4F44-BD1C-109EF5F9B34F}" presName="parentTextArrow" presStyleLbl="node1" presStyleIdx="0" presStyleCnt="6"/>
      <dgm:spPr/>
    </dgm:pt>
    <dgm:pt modelId="{ABD765D8-4567-7C45-9416-36A9951DFD3E}" type="pres">
      <dgm:prSet presAssocID="{D56235BB-A3C6-4F44-BD1C-109EF5F9B34F}" presName="arrow" presStyleLbl="node1" presStyleIdx="1" presStyleCnt="6"/>
      <dgm:spPr/>
    </dgm:pt>
    <dgm:pt modelId="{3B8B0D45-FE4A-9F44-934F-58BE56D3B51F}" type="pres">
      <dgm:prSet presAssocID="{D56235BB-A3C6-4F44-BD1C-109EF5F9B34F}" presName="descendantArrow" presStyleCnt="0"/>
      <dgm:spPr/>
    </dgm:pt>
    <dgm:pt modelId="{255CF012-590D-A74E-AB03-61D53C567F8B}" type="pres">
      <dgm:prSet presAssocID="{997D8610-309F-244B-A55D-C89F14EC64D7}" presName="childTextArrow" presStyleLbl="fgAccFollowNode1" presStyleIdx="1" presStyleCnt="6">
        <dgm:presLayoutVars>
          <dgm:bulletEnabled val="1"/>
        </dgm:presLayoutVars>
      </dgm:prSet>
      <dgm:spPr/>
    </dgm:pt>
    <dgm:pt modelId="{BEFE3282-16E2-2B4C-9950-4CC88FB878A9}" type="pres">
      <dgm:prSet presAssocID="{CA4F216C-2E63-D44F-A22F-DF301DCD4F46}" presName="sp" presStyleCnt="0"/>
      <dgm:spPr/>
    </dgm:pt>
    <dgm:pt modelId="{F1FA682E-2464-C844-9409-7ED0FA5D560B}" type="pres">
      <dgm:prSet presAssocID="{28A7302C-EFE8-0D4B-BDC6-FB863A78F866}" presName="arrowAndChildren" presStyleCnt="0"/>
      <dgm:spPr/>
    </dgm:pt>
    <dgm:pt modelId="{5F5C1BF3-8CAB-D548-BBEE-0EC54C51F8E1}" type="pres">
      <dgm:prSet presAssocID="{28A7302C-EFE8-0D4B-BDC6-FB863A78F866}" presName="parentTextArrow" presStyleLbl="node1" presStyleIdx="1" presStyleCnt="6"/>
      <dgm:spPr/>
    </dgm:pt>
    <dgm:pt modelId="{A066E824-FEDC-EB4A-88BA-305AC22D57B4}" type="pres">
      <dgm:prSet presAssocID="{28A7302C-EFE8-0D4B-BDC6-FB863A78F866}" presName="arrow" presStyleLbl="node1" presStyleIdx="2" presStyleCnt="6"/>
      <dgm:spPr/>
    </dgm:pt>
    <dgm:pt modelId="{67C523EA-EB3E-1642-AE05-3E632B1DA645}" type="pres">
      <dgm:prSet presAssocID="{28A7302C-EFE8-0D4B-BDC6-FB863A78F866}" presName="descendantArrow" presStyleCnt="0"/>
      <dgm:spPr/>
    </dgm:pt>
    <dgm:pt modelId="{50A67DB9-79F5-1D47-8C80-9BD1675366DC}" type="pres">
      <dgm:prSet presAssocID="{796EA846-AD88-2443-B03E-C5405454F683}" presName="childTextArrow" presStyleLbl="fgAccFollowNode1" presStyleIdx="2" presStyleCnt="6">
        <dgm:presLayoutVars>
          <dgm:bulletEnabled val="1"/>
        </dgm:presLayoutVars>
      </dgm:prSet>
      <dgm:spPr/>
    </dgm:pt>
    <dgm:pt modelId="{008C26F5-7166-2445-A636-1F5FBC5BB5D0}" type="pres">
      <dgm:prSet presAssocID="{347E857B-DF95-2F49-AE7F-43CAFEDF2E56}" presName="sp" presStyleCnt="0"/>
      <dgm:spPr/>
    </dgm:pt>
    <dgm:pt modelId="{C2DAEA44-3D94-DA48-8792-B71992E2634C}" type="pres">
      <dgm:prSet presAssocID="{0596BEB0-A057-CE49-B5D6-0D8CD3D22971}" presName="arrowAndChildren" presStyleCnt="0"/>
      <dgm:spPr/>
    </dgm:pt>
    <dgm:pt modelId="{CA8F7F74-4DF4-4F46-9B1D-BE3BB3D8AB72}" type="pres">
      <dgm:prSet presAssocID="{0596BEB0-A057-CE49-B5D6-0D8CD3D22971}" presName="parentTextArrow" presStyleLbl="node1" presStyleIdx="2" presStyleCnt="6"/>
      <dgm:spPr/>
    </dgm:pt>
    <dgm:pt modelId="{5962EBDC-EDBC-EB43-BFEC-72F4C54D49B0}" type="pres">
      <dgm:prSet presAssocID="{0596BEB0-A057-CE49-B5D6-0D8CD3D22971}" presName="arrow" presStyleLbl="node1" presStyleIdx="3" presStyleCnt="6"/>
      <dgm:spPr/>
    </dgm:pt>
    <dgm:pt modelId="{4B30E482-44E6-FD4F-AECF-B3084DA6BFB9}" type="pres">
      <dgm:prSet presAssocID="{0596BEB0-A057-CE49-B5D6-0D8CD3D22971}" presName="descendantArrow" presStyleCnt="0"/>
      <dgm:spPr/>
    </dgm:pt>
    <dgm:pt modelId="{6C77FDDF-0215-CE42-A553-6EC759DA31DB}" type="pres">
      <dgm:prSet presAssocID="{8EB28CCB-983E-9444-9E85-A4CE838B0E3D}" presName="childTextArrow" presStyleLbl="fgAccFollowNode1" presStyleIdx="3" presStyleCnt="6">
        <dgm:presLayoutVars>
          <dgm:bulletEnabled val="1"/>
        </dgm:presLayoutVars>
      </dgm:prSet>
      <dgm:spPr/>
    </dgm:pt>
    <dgm:pt modelId="{1BF500A0-DE17-3E4C-B637-58C8531F3A06}" type="pres">
      <dgm:prSet presAssocID="{15086D4D-BACB-8D4C-B268-7193F9DF364E}" presName="sp" presStyleCnt="0"/>
      <dgm:spPr/>
    </dgm:pt>
    <dgm:pt modelId="{2F7B6846-CB9A-764B-BB68-474CAF171E0F}" type="pres">
      <dgm:prSet presAssocID="{7146B2B5-DF38-1A4A-BC49-5D3B91085D94}" presName="arrowAndChildren" presStyleCnt="0"/>
      <dgm:spPr/>
    </dgm:pt>
    <dgm:pt modelId="{6005B5E2-96BA-4846-89CB-B7EB281442BB}" type="pres">
      <dgm:prSet presAssocID="{7146B2B5-DF38-1A4A-BC49-5D3B91085D94}" presName="parentTextArrow" presStyleLbl="node1" presStyleIdx="3" presStyleCnt="6"/>
      <dgm:spPr/>
    </dgm:pt>
    <dgm:pt modelId="{814B1545-A225-E24B-B910-8E0CCD464B45}" type="pres">
      <dgm:prSet presAssocID="{7146B2B5-DF38-1A4A-BC49-5D3B91085D94}" presName="arrow" presStyleLbl="node1" presStyleIdx="4" presStyleCnt="6"/>
      <dgm:spPr/>
    </dgm:pt>
    <dgm:pt modelId="{CF262BFC-1A19-E743-9010-1B6E7E23DA2E}" type="pres">
      <dgm:prSet presAssocID="{7146B2B5-DF38-1A4A-BC49-5D3B91085D94}" presName="descendantArrow" presStyleCnt="0"/>
      <dgm:spPr/>
    </dgm:pt>
    <dgm:pt modelId="{5A88BCBD-7676-DA4D-B96E-98120A4ECF34}" type="pres">
      <dgm:prSet presAssocID="{153FCC07-828A-CE44-AB60-DFB90425D8CC}" presName="childTextArrow" presStyleLbl="fgAccFollowNode1" presStyleIdx="4" presStyleCnt="6">
        <dgm:presLayoutVars>
          <dgm:bulletEnabled val="1"/>
        </dgm:presLayoutVars>
      </dgm:prSet>
      <dgm:spPr/>
    </dgm:pt>
    <dgm:pt modelId="{F3F2614D-91A5-0249-BADB-13392EF9545A}" type="pres">
      <dgm:prSet presAssocID="{4E97798E-8A19-C443-AB54-07331D6D2C29}" presName="sp" presStyleCnt="0"/>
      <dgm:spPr/>
    </dgm:pt>
    <dgm:pt modelId="{D12321CE-7113-FF48-80F8-D4EE1567D513}" type="pres">
      <dgm:prSet presAssocID="{E0D01C91-BE30-2743-86D1-81FE17C208C4}" presName="arrowAndChildren" presStyleCnt="0"/>
      <dgm:spPr/>
    </dgm:pt>
    <dgm:pt modelId="{88AA369F-1B5E-6643-8673-1CB65EB1C447}" type="pres">
      <dgm:prSet presAssocID="{E0D01C91-BE30-2743-86D1-81FE17C208C4}" presName="parentTextArrow" presStyleLbl="node1" presStyleIdx="4" presStyleCnt="6"/>
      <dgm:spPr/>
    </dgm:pt>
    <dgm:pt modelId="{5BEF42B0-2EA9-DC4C-8D73-F9D8F84851EF}" type="pres">
      <dgm:prSet presAssocID="{E0D01C91-BE30-2743-86D1-81FE17C208C4}" presName="arrow" presStyleLbl="node1" presStyleIdx="5" presStyleCnt="6"/>
      <dgm:spPr/>
    </dgm:pt>
    <dgm:pt modelId="{703B7DAA-37AE-E944-B824-88C6C0DCBE80}" type="pres">
      <dgm:prSet presAssocID="{E0D01C91-BE30-2743-86D1-81FE17C208C4}" presName="descendantArrow" presStyleCnt="0"/>
      <dgm:spPr/>
    </dgm:pt>
    <dgm:pt modelId="{1FFD4D36-5EF8-3349-A042-0E273035ED14}" type="pres">
      <dgm:prSet presAssocID="{C2D79976-A391-B343-84D9-24C7C7A229BC}" presName="childTextArrow" presStyleLbl="fgAccFollowNode1" presStyleIdx="5" presStyleCnt="6">
        <dgm:presLayoutVars>
          <dgm:bulletEnabled val="1"/>
        </dgm:presLayoutVars>
      </dgm:prSet>
      <dgm:spPr/>
    </dgm:pt>
  </dgm:ptLst>
  <dgm:cxnLst>
    <dgm:cxn modelId="{1E16DF0D-495F-724D-BCBB-56BC13D192AB}" type="presOf" srcId="{997D8610-309F-244B-A55D-C89F14EC64D7}" destId="{255CF012-590D-A74E-AB03-61D53C567F8B}" srcOrd="0" destOrd="0" presId="urn:microsoft.com/office/officeart/2005/8/layout/process4"/>
    <dgm:cxn modelId="{B24A5627-00F6-524B-AC96-09C4ED749A72}" srcId="{C291AFB2-99F4-744D-AED2-C38778982BDE}" destId="{E0D01C91-BE30-2743-86D1-81FE17C208C4}" srcOrd="0" destOrd="0" parTransId="{E350DE74-F585-B640-9DEB-07C2CE5EF430}" sibTransId="{4E97798E-8A19-C443-AB54-07331D6D2C29}"/>
    <dgm:cxn modelId="{EB80B027-0E95-BB4F-B6B2-FD531C925497}" type="presOf" srcId="{BC2D7B5D-0F46-B44A-9546-3CA4D8E9274B}" destId="{6AC579D9-C8BD-7443-A58A-6C77C503CD73}" srcOrd="1" destOrd="0" presId="urn:microsoft.com/office/officeart/2005/8/layout/process4"/>
    <dgm:cxn modelId="{619E2F28-B79E-7E4C-BD53-24BF28F6FB45}" srcId="{C291AFB2-99F4-744D-AED2-C38778982BDE}" destId="{0596BEB0-A057-CE49-B5D6-0D8CD3D22971}" srcOrd="2" destOrd="0" parTransId="{0E68276D-6929-1F42-A3AE-9A0211C706DF}" sibTransId="{347E857B-DF95-2F49-AE7F-43CAFEDF2E56}"/>
    <dgm:cxn modelId="{5F559533-1418-6C4F-BBAD-5CE10B530D7B}" srcId="{C291AFB2-99F4-744D-AED2-C38778982BDE}" destId="{28A7302C-EFE8-0D4B-BDC6-FB863A78F866}" srcOrd="3" destOrd="0" parTransId="{26AB26EC-5928-A14E-A2EA-08DC03D9501B}" sibTransId="{CA4F216C-2E63-D44F-A22F-DF301DCD4F46}"/>
    <dgm:cxn modelId="{20B86A38-93FA-414B-B8C8-C05F4FB16DC2}" srcId="{7146B2B5-DF38-1A4A-BC49-5D3B91085D94}" destId="{153FCC07-828A-CE44-AB60-DFB90425D8CC}" srcOrd="0" destOrd="0" parTransId="{B89E589B-A585-6D40-A16E-EF55A1145173}" sibTransId="{8A7617CC-4217-4D43-AE2C-A5596E382127}"/>
    <dgm:cxn modelId="{26795F42-6F41-9749-ACEF-70ACC8F7ECF2}" type="presOf" srcId="{0596BEB0-A057-CE49-B5D6-0D8CD3D22971}" destId="{CA8F7F74-4DF4-4F46-9B1D-BE3BB3D8AB72}" srcOrd="0" destOrd="0" presId="urn:microsoft.com/office/officeart/2005/8/layout/process4"/>
    <dgm:cxn modelId="{4C4DF049-9033-854C-8339-731FC1D3D434}" type="presOf" srcId="{28A7302C-EFE8-0D4B-BDC6-FB863A78F866}" destId="{5F5C1BF3-8CAB-D548-BBEE-0EC54C51F8E1}" srcOrd="0" destOrd="0" presId="urn:microsoft.com/office/officeart/2005/8/layout/process4"/>
    <dgm:cxn modelId="{0F4C255B-2D30-3B43-A624-637621B051AF}" srcId="{0596BEB0-A057-CE49-B5D6-0D8CD3D22971}" destId="{8EB28CCB-983E-9444-9E85-A4CE838B0E3D}" srcOrd="0" destOrd="0" parTransId="{20284E7E-8367-A94E-8660-0A3D4F00B651}" sibTransId="{50B3FA4C-239B-0046-897E-7F86B98DAF05}"/>
    <dgm:cxn modelId="{E566A163-5689-D74D-B31C-891344A5B425}" type="presOf" srcId="{C2D79976-A391-B343-84D9-24C7C7A229BC}" destId="{1FFD4D36-5EF8-3349-A042-0E273035ED14}" srcOrd="0" destOrd="0" presId="urn:microsoft.com/office/officeart/2005/8/layout/process4"/>
    <dgm:cxn modelId="{392A356A-E75D-A646-BAD2-0CAB96F2E71F}" type="presOf" srcId="{D56235BB-A3C6-4F44-BD1C-109EF5F9B34F}" destId="{ABD765D8-4567-7C45-9416-36A9951DFD3E}" srcOrd="1" destOrd="0" presId="urn:microsoft.com/office/officeart/2005/8/layout/process4"/>
    <dgm:cxn modelId="{073E6871-064C-8D4D-B315-50D36088430B}" type="presOf" srcId="{796EA846-AD88-2443-B03E-C5405454F683}" destId="{50A67DB9-79F5-1D47-8C80-9BD1675366DC}" srcOrd="0" destOrd="0" presId="urn:microsoft.com/office/officeart/2005/8/layout/process4"/>
    <dgm:cxn modelId="{A14E987B-2349-CC47-AECE-7949B29DB404}" type="presOf" srcId="{7146B2B5-DF38-1A4A-BC49-5D3B91085D94}" destId="{6005B5E2-96BA-4846-89CB-B7EB281442BB}" srcOrd="0" destOrd="0" presId="urn:microsoft.com/office/officeart/2005/8/layout/process4"/>
    <dgm:cxn modelId="{28C4418F-A679-4349-B81A-DBFC617D67CA}" srcId="{C291AFB2-99F4-744D-AED2-C38778982BDE}" destId="{D56235BB-A3C6-4F44-BD1C-109EF5F9B34F}" srcOrd="4" destOrd="0" parTransId="{98B83FDD-B783-6542-A232-DE472015FCFC}" sibTransId="{AC4261F4-1AAD-6645-83BA-F6763C1070F0}"/>
    <dgm:cxn modelId="{9AE2A890-F3C5-1447-9626-67668FDB6B34}" srcId="{C291AFB2-99F4-744D-AED2-C38778982BDE}" destId="{7146B2B5-DF38-1A4A-BC49-5D3B91085D94}" srcOrd="1" destOrd="0" parTransId="{E45FFBE7-D672-7741-A94D-C2E3011F5DF1}" sibTransId="{15086D4D-BACB-8D4C-B268-7193F9DF364E}"/>
    <dgm:cxn modelId="{082DAC91-7658-CB4F-A583-49F20F3BB2E8}" type="presOf" srcId="{2C9FDA07-5EA9-8847-81CB-983F83727CB9}" destId="{D5589B23-BD32-474A-A80F-EB17FC296D1E}" srcOrd="0" destOrd="0" presId="urn:microsoft.com/office/officeart/2005/8/layout/process4"/>
    <dgm:cxn modelId="{FEF33592-2881-6648-9E40-1CEEF262A926}" type="presOf" srcId="{C291AFB2-99F4-744D-AED2-C38778982BDE}" destId="{4474670F-E02B-1D4C-8E33-B41CF1947ED9}" srcOrd="0" destOrd="0" presId="urn:microsoft.com/office/officeart/2005/8/layout/process4"/>
    <dgm:cxn modelId="{858F9E92-0899-3945-B5FB-EA8C12743E59}" type="presOf" srcId="{8EB28CCB-983E-9444-9E85-A4CE838B0E3D}" destId="{6C77FDDF-0215-CE42-A553-6EC759DA31DB}" srcOrd="0" destOrd="0" presId="urn:microsoft.com/office/officeart/2005/8/layout/process4"/>
    <dgm:cxn modelId="{BAA7D3A3-9F59-F24A-99F6-E7D849AC231C}" srcId="{C291AFB2-99F4-744D-AED2-C38778982BDE}" destId="{BC2D7B5D-0F46-B44A-9546-3CA4D8E9274B}" srcOrd="5" destOrd="0" parTransId="{086A63F6-447F-324D-A2AF-A994EB642D5F}" sibTransId="{E01C1AB5-F148-9C49-BA44-7AD9D1F50AA7}"/>
    <dgm:cxn modelId="{564616A7-4DA9-774C-A8EC-9257C2F38512}" type="presOf" srcId="{28A7302C-EFE8-0D4B-BDC6-FB863A78F866}" destId="{A066E824-FEDC-EB4A-88BA-305AC22D57B4}" srcOrd="1" destOrd="0" presId="urn:microsoft.com/office/officeart/2005/8/layout/process4"/>
    <dgm:cxn modelId="{7431AAB8-055C-7A4C-A6E9-4D183DEC35EB}" srcId="{28A7302C-EFE8-0D4B-BDC6-FB863A78F866}" destId="{796EA846-AD88-2443-B03E-C5405454F683}" srcOrd="0" destOrd="0" parTransId="{8EC83194-7F8D-3749-87DD-CD3DB408EC5A}" sibTransId="{1883EABD-5FA8-F04A-A087-BAD275A10BB9}"/>
    <dgm:cxn modelId="{08CA16CC-65A4-5A45-B074-FF402E07F3E9}" type="presOf" srcId="{E0D01C91-BE30-2743-86D1-81FE17C208C4}" destId="{5BEF42B0-2EA9-DC4C-8D73-F9D8F84851EF}" srcOrd="1" destOrd="0" presId="urn:microsoft.com/office/officeart/2005/8/layout/process4"/>
    <dgm:cxn modelId="{99B46FD4-8568-F948-AFC2-982E2CFFCAF9}" srcId="{E0D01C91-BE30-2743-86D1-81FE17C208C4}" destId="{C2D79976-A391-B343-84D9-24C7C7A229BC}" srcOrd="0" destOrd="0" parTransId="{F85A8276-67B7-0348-AAA5-D0B276F91CCC}" sibTransId="{061D3D94-C7C6-6D40-BF6C-F976170EF7C4}"/>
    <dgm:cxn modelId="{B2A2B9DD-52EA-6E42-BFD8-28C97CF0A30F}" type="presOf" srcId="{0596BEB0-A057-CE49-B5D6-0D8CD3D22971}" destId="{5962EBDC-EDBC-EB43-BFEC-72F4C54D49B0}" srcOrd="1" destOrd="0" presId="urn:microsoft.com/office/officeart/2005/8/layout/process4"/>
    <dgm:cxn modelId="{912BE4E1-E14C-594E-AD21-3CF39A10B3CB}" srcId="{BC2D7B5D-0F46-B44A-9546-3CA4D8E9274B}" destId="{2C9FDA07-5EA9-8847-81CB-983F83727CB9}" srcOrd="0" destOrd="0" parTransId="{0CED0E64-7690-824F-8C80-7B74756AEE0F}" sibTransId="{9F7BB376-641F-9047-8ED8-07C5CF5E631C}"/>
    <dgm:cxn modelId="{BA9A09E5-5D01-8D4D-A271-871DDC478BF5}" type="presOf" srcId="{E0D01C91-BE30-2743-86D1-81FE17C208C4}" destId="{88AA369F-1B5E-6643-8673-1CB65EB1C447}" srcOrd="0" destOrd="0" presId="urn:microsoft.com/office/officeart/2005/8/layout/process4"/>
    <dgm:cxn modelId="{6A23B3E6-B054-DD42-B2F5-4DD89C75971D}" type="presOf" srcId="{7146B2B5-DF38-1A4A-BC49-5D3B91085D94}" destId="{814B1545-A225-E24B-B910-8E0CCD464B45}" srcOrd="1" destOrd="0" presId="urn:microsoft.com/office/officeart/2005/8/layout/process4"/>
    <dgm:cxn modelId="{96EB84E8-204C-0B4D-A8FE-34DB46CDCE77}" type="presOf" srcId="{BC2D7B5D-0F46-B44A-9546-3CA4D8E9274B}" destId="{E19E67C3-5D34-F048-AAA4-286CCE1AF0C5}" srcOrd="0" destOrd="0" presId="urn:microsoft.com/office/officeart/2005/8/layout/process4"/>
    <dgm:cxn modelId="{8935FCEA-9B3D-2C48-BEAD-B2327EDE58DC}" srcId="{D56235BB-A3C6-4F44-BD1C-109EF5F9B34F}" destId="{997D8610-309F-244B-A55D-C89F14EC64D7}" srcOrd="0" destOrd="0" parTransId="{DECAC62A-4BB8-7E42-BFFC-12C3D1EBDD65}" sibTransId="{9DFD5A2E-DE60-F541-920C-FB9E53C380DD}"/>
    <dgm:cxn modelId="{3EDA32EC-5544-B14C-A24B-B13153715FED}" type="presOf" srcId="{153FCC07-828A-CE44-AB60-DFB90425D8CC}" destId="{5A88BCBD-7676-DA4D-B96E-98120A4ECF34}" srcOrd="0" destOrd="0" presId="urn:microsoft.com/office/officeart/2005/8/layout/process4"/>
    <dgm:cxn modelId="{007724F6-4610-8B40-8F78-F878618F866E}" type="presOf" srcId="{D56235BB-A3C6-4F44-BD1C-109EF5F9B34F}" destId="{88F9B580-2CEC-8A4A-A3A7-5D351011590B}" srcOrd="0" destOrd="0" presId="urn:microsoft.com/office/officeart/2005/8/layout/process4"/>
    <dgm:cxn modelId="{C4D282B1-EBD7-E24C-A6ED-276265C0EF31}" type="presParOf" srcId="{4474670F-E02B-1D4C-8E33-B41CF1947ED9}" destId="{B487D8A7-5344-F04A-B162-C635EB5D5486}" srcOrd="0" destOrd="0" presId="urn:microsoft.com/office/officeart/2005/8/layout/process4"/>
    <dgm:cxn modelId="{74893B03-103F-A247-8455-48B31521C85C}" type="presParOf" srcId="{B487D8A7-5344-F04A-B162-C635EB5D5486}" destId="{E19E67C3-5D34-F048-AAA4-286CCE1AF0C5}" srcOrd="0" destOrd="0" presId="urn:microsoft.com/office/officeart/2005/8/layout/process4"/>
    <dgm:cxn modelId="{89DEE36A-329D-4A4B-A2EA-ACD2E1D8747C}" type="presParOf" srcId="{B487D8A7-5344-F04A-B162-C635EB5D5486}" destId="{6AC579D9-C8BD-7443-A58A-6C77C503CD73}" srcOrd="1" destOrd="0" presId="urn:microsoft.com/office/officeart/2005/8/layout/process4"/>
    <dgm:cxn modelId="{47920AE3-A513-654A-B34C-028B2829C70A}" type="presParOf" srcId="{B487D8A7-5344-F04A-B162-C635EB5D5486}" destId="{4F8933FE-C466-E248-9178-28CFBE77020D}" srcOrd="2" destOrd="0" presId="urn:microsoft.com/office/officeart/2005/8/layout/process4"/>
    <dgm:cxn modelId="{A46CD142-83A0-EC48-91E6-E8B71095C6C8}" type="presParOf" srcId="{4F8933FE-C466-E248-9178-28CFBE77020D}" destId="{D5589B23-BD32-474A-A80F-EB17FC296D1E}" srcOrd="0" destOrd="0" presId="urn:microsoft.com/office/officeart/2005/8/layout/process4"/>
    <dgm:cxn modelId="{18025466-0599-B140-8638-4E3BE97CDFB5}" type="presParOf" srcId="{4474670F-E02B-1D4C-8E33-B41CF1947ED9}" destId="{A855E52D-2BDA-6442-A005-DC78DB5A4A56}" srcOrd="1" destOrd="0" presId="urn:microsoft.com/office/officeart/2005/8/layout/process4"/>
    <dgm:cxn modelId="{9D96BE11-2AB9-5743-8956-A152085FAD57}" type="presParOf" srcId="{4474670F-E02B-1D4C-8E33-B41CF1947ED9}" destId="{26F83253-0BDB-D340-ABBC-9FE2EDBC62C5}" srcOrd="2" destOrd="0" presId="urn:microsoft.com/office/officeart/2005/8/layout/process4"/>
    <dgm:cxn modelId="{B045D67E-609A-CB4A-9615-ACD329C356B0}" type="presParOf" srcId="{26F83253-0BDB-D340-ABBC-9FE2EDBC62C5}" destId="{88F9B580-2CEC-8A4A-A3A7-5D351011590B}" srcOrd="0" destOrd="0" presId="urn:microsoft.com/office/officeart/2005/8/layout/process4"/>
    <dgm:cxn modelId="{93A8E633-00B8-764F-9B7C-4950C7A151AE}" type="presParOf" srcId="{26F83253-0BDB-D340-ABBC-9FE2EDBC62C5}" destId="{ABD765D8-4567-7C45-9416-36A9951DFD3E}" srcOrd="1" destOrd="0" presId="urn:microsoft.com/office/officeart/2005/8/layout/process4"/>
    <dgm:cxn modelId="{F916DBF5-F980-784A-B140-B15431E6EC25}" type="presParOf" srcId="{26F83253-0BDB-D340-ABBC-9FE2EDBC62C5}" destId="{3B8B0D45-FE4A-9F44-934F-58BE56D3B51F}" srcOrd="2" destOrd="0" presId="urn:microsoft.com/office/officeart/2005/8/layout/process4"/>
    <dgm:cxn modelId="{8B3155AA-5EBF-3C48-A944-8103ABDD26A6}" type="presParOf" srcId="{3B8B0D45-FE4A-9F44-934F-58BE56D3B51F}" destId="{255CF012-590D-A74E-AB03-61D53C567F8B}" srcOrd="0" destOrd="0" presId="urn:microsoft.com/office/officeart/2005/8/layout/process4"/>
    <dgm:cxn modelId="{0BC5F5C6-50C3-1A45-A62D-D2C0F82E583E}" type="presParOf" srcId="{4474670F-E02B-1D4C-8E33-B41CF1947ED9}" destId="{BEFE3282-16E2-2B4C-9950-4CC88FB878A9}" srcOrd="3" destOrd="0" presId="urn:microsoft.com/office/officeart/2005/8/layout/process4"/>
    <dgm:cxn modelId="{93570B8A-2F6F-4949-AC29-6691F41B36BF}" type="presParOf" srcId="{4474670F-E02B-1D4C-8E33-B41CF1947ED9}" destId="{F1FA682E-2464-C844-9409-7ED0FA5D560B}" srcOrd="4" destOrd="0" presId="urn:microsoft.com/office/officeart/2005/8/layout/process4"/>
    <dgm:cxn modelId="{342B00FE-65C6-C141-B1BB-C80BA5904C1F}" type="presParOf" srcId="{F1FA682E-2464-C844-9409-7ED0FA5D560B}" destId="{5F5C1BF3-8CAB-D548-BBEE-0EC54C51F8E1}" srcOrd="0" destOrd="0" presId="urn:microsoft.com/office/officeart/2005/8/layout/process4"/>
    <dgm:cxn modelId="{F7C639A4-7949-A64C-932B-8BCA952EBA10}" type="presParOf" srcId="{F1FA682E-2464-C844-9409-7ED0FA5D560B}" destId="{A066E824-FEDC-EB4A-88BA-305AC22D57B4}" srcOrd="1" destOrd="0" presId="urn:microsoft.com/office/officeart/2005/8/layout/process4"/>
    <dgm:cxn modelId="{A316A677-E4AE-8B43-B7C5-A194036F35B6}" type="presParOf" srcId="{F1FA682E-2464-C844-9409-7ED0FA5D560B}" destId="{67C523EA-EB3E-1642-AE05-3E632B1DA645}" srcOrd="2" destOrd="0" presId="urn:microsoft.com/office/officeart/2005/8/layout/process4"/>
    <dgm:cxn modelId="{9DAFFFAD-D2A4-F14E-8A81-9B707CB92F26}" type="presParOf" srcId="{67C523EA-EB3E-1642-AE05-3E632B1DA645}" destId="{50A67DB9-79F5-1D47-8C80-9BD1675366DC}" srcOrd="0" destOrd="0" presId="urn:microsoft.com/office/officeart/2005/8/layout/process4"/>
    <dgm:cxn modelId="{5C389006-E242-1049-96D8-065D5D78BFC1}" type="presParOf" srcId="{4474670F-E02B-1D4C-8E33-B41CF1947ED9}" destId="{008C26F5-7166-2445-A636-1F5FBC5BB5D0}" srcOrd="5" destOrd="0" presId="urn:microsoft.com/office/officeart/2005/8/layout/process4"/>
    <dgm:cxn modelId="{2B924CEA-C44B-974A-96B6-62152B9D5F42}" type="presParOf" srcId="{4474670F-E02B-1D4C-8E33-B41CF1947ED9}" destId="{C2DAEA44-3D94-DA48-8792-B71992E2634C}" srcOrd="6" destOrd="0" presId="urn:microsoft.com/office/officeart/2005/8/layout/process4"/>
    <dgm:cxn modelId="{169B9F58-EB3F-9047-878A-B40B029BADEB}" type="presParOf" srcId="{C2DAEA44-3D94-DA48-8792-B71992E2634C}" destId="{CA8F7F74-4DF4-4F46-9B1D-BE3BB3D8AB72}" srcOrd="0" destOrd="0" presId="urn:microsoft.com/office/officeart/2005/8/layout/process4"/>
    <dgm:cxn modelId="{C4E7CEF5-BFDD-4743-8A1E-321B7E0149FA}" type="presParOf" srcId="{C2DAEA44-3D94-DA48-8792-B71992E2634C}" destId="{5962EBDC-EDBC-EB43-BFEC-72F4C54D49B0}" srcOrd="1" destOrd="0" presId="urn:microsoft.com/office/officeart/2005/8/layout/process4"/>
    <dgm:cxn modelId="{E74A4487-CFA1-8B4E-A0CE-13AEB0105AA7}" type="presParOf" srcId="{C2DAEA44-3D94-DA48-8792-B71992E2634C}" destId="{4B30E482-44E6-FD4F-AECF-B3084DA6BFB9}" srcOrd="2" destOrd="0" presId="urn:microsoft.com/office/officeart/2005/8/layout/process4"/>
    <dgm:cxn modelId="{9643361C-6828-5B48-9EF5-9F9DA45B812D}" type="presParOf" srcId="{4B30E482-44E6-FD4F-AECF-B3084DA6BFB9}" destId="{6C77FDDF-0215-CE42-A553-6EC759DA31DB}" srcOrd="0" destOrd="0" presId="urn:microsoft.com/office/officeart/2005/8/layout/process4"/>
    <dgm:cxn modelId="{4D64EE2F-B5B0-0443-B3E8-06BC033E7099}" type="presParOf" srcId="{4474670F-E02B-1D4C-8E33-B41CF1947ED9}" destId="{1BF500A0-DE17-3E4C-B637-58C8531F3A06}" srcOrd="7" destOrd="0" presId="urn:microsoft.com/office/officeart/2005/8/layout/process4"/>
    <dgm:cxn modelId="{7AA279D6-9C7E-4446-8475-D2AF0C1648C4}" type="presParOf" srcId="{4474670F-E02B-1D4C-8E33-B41CF1947ED9}" destId="{2F7B6846-CB9A-764B-BB68-474CAF171E0F}" srcOrd="8" destOrd="0" presId="urn:microsoft.com/office/officeart/2005/8/layout/process4"/>
    <dgm:cxn modelId="{11DC1D8B-4A0F-0148-B59D-04944E813990}" type="presParOf" srcId="{2F7B6846-CB9A-764B-BB68-474CAF171E0F}" destId="{6005B5E2-96BA-4846-89CB-B7EB281442BB}" srcOrd="0" destOrd="0" presId="urn:microsoft.com/office/officeart/2005/8/layout/process4"/>
    <dgm:cxn modelId="{6453F21E-A9AB-4A43-A84F-0949D6224AF7}" type="presParOf" srcId="{2F7B6846-CB9A-764B-BB68-474CAF171E0F}" destId="{814B1545-A225-E24B-B910-8E0CCD464B45}" srcOrd="1" destOrd="0" presId="urn:microsoft.com/office/officeart/2005/8/layout/process4"/>
    <dgm:cxn modelId="{7B995FF5-7D3D-AE4A-833E-A9112940174B}" type="presParOf" srcId="{2F7B6846-CB9A-764B-BB68-474CAF171E0F}" destId="{CF262BFC-1A19-E743-9010-1B6E7E23DA2E}" srcOrd="2" destOrd="0" presId="urn:microsoft.com/office/officeart/2005/8/layout/process4"/>
    <dgm:cxn modelId="{FCC09392-7623-DA49-B418-773423DB2CF2}" type="presParOf" srcId="{CF262BFC-1A19-E743-9010-1B6E7E23DA2E}" destId="{5A88BCBD-7676-DA4D-B96E-98120A4ECF34}" srcOrd="0" destOrd="0" presId="urn:microsoft.com/office/officeart/2005/8/layout/process4"/>
    <dgm:cxn modelId="{CC6CBF25-0EAE-DD43-8818-77F5A202B810}" type="presParOf" srcId="{4474670F-E02B-1D4C-8E33-B41CF1947ED9}" destId="{F3F2614D-91A5-0249-BADB-13392EF9545A}" srcOrd="9" destOrd="0" presId="urn:microsoft.com/office/officeart/2005/8/layout/process4"/>
    <dgm:cxn modelId="{056F7D2C-8A2A-F941-BF59-E60225DBE5EB}" type="presParOf" srcId="{4474670F-E02B-1D4C-8E33-B41CF1947ED9}" destId="{D12321CE-7113-FF48-80F8-D4EE1567D513}" srcOrd="10" destOrd="0" presId="urn:microsoft.com/office/officeart/2005/8/layout/process4"/>
    <dgm:cxn modelId="{5D008DD3-9A55-494C-B2DB-2CFD1DA19B2C}" type="presParOf" srcId="{D12321CE-7113-FF48-80F8-D4EE1567D513}" destId="{88AA369F-1B5E-6643-8673-1CB65EB1C447}" srcOrd="0" destOrd="0" presId="urn:microsoft.com/office/officeart/2005/8/layout/process4"/>
    <dgm:cxn modelId="{87F54DE7-46E6-0846-971D-D53C977F8907}" type="presParOf" srcId="{D12321CE-7113-FF48-80F8-D4EE1567D513}" destId="{5BEF42B0-2EA9-DC4C-8D73-F9D8F84851EF}" srcOrd="1" destOrd="0" presId="urn:microsoft.com/office/officeart/2005/8/layout/process4"/>
    <dgm:cxn modelId="{B49B7D04-E4C0-7F44-95F7-94E17350837B}" type="presParOf" srcId="{D12321CE-7113-FF48-80F8-D4EE1567D513}" destId="{703B7DAA-37AE-E944-B824-88C6C0DCBE80}" srcOrd="2" destOrd="0" presId="urn:microsoft.com/office/officeart/2005/8/layout/process4"/>
    <dgm:cxn modelId="{B5D99A22-EF83-AC42-B33C-6E8F30967C68}" type="presParOf" srcId="{703B7DAA-37AE-E944-B824-88C6C0DCBE80}" destId="{1FFD4D36-5EF8-3349-A042-0E273035ED14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6F910F0-99A4-C848-836C-1101B8C50CA0}">
      <dsp:nvSpPr>
        <dsp:cNvPr id="0" name=""/>
        <dsp:cNvSpPr/>
      </dsp:nvSpPr>
      <dsp:spPr>
        <a:xfrm>
          <a:off x="0" y="5261574"/>
          <a:ext cx="3455263" cy="493337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zh-CN" sz="1600" kern="1200" dirty="0"/>
            <a:t>dense layer_3 (Softmax)</a:t>
          </a:r>
          <a:endParaRPr lang="zh-CN" altLang="en-US" sz="1600" kern="1200" dirty="0"/>
        </a:p>
      </dsp:txBody>
      <dsp:txXfrm>
        <a:off x="0" y="5261574"/>
        <a:ext cx="3455263" cy="266402"/>
      </dsp:txXfrm>
    </dsp:sp>
    <dsp:sp modelId="{0ACAFA1A-E2A6-FD40-A2B0-6521A6DDA0DD}">
      <dsp:nvSpPr>
        <dsp:cNvPr id="0" name=""/>
        <dsp:cNvSpPr/>
      </dsp:nvSpPr>
      <dsp:spPr>
        <a:xfrm>
          <a:off x="0" y="5518110"/>
          <a:ext cx="3455263" cy="226935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zh-CN" sz="1600" kern="1200" dirty="0"/>
            <a:t>12</a:t>
          </a:r>
          <a:endParaRPr lang="zh-CN" altLang="en-US" sz="1600" kern="1200" dirty="0"/>
        </a:p>
      </dsp:txBody>
      <dsp:txXfrm>
        <a:off x="0" y="5518110"/>
        <a:ext cx="3455263" cy="226935"/>
      </dsp:txXfrm>
    </dsp:sp>
    <dsp:sp modelId="{A60789C4-0FE7-AF41-A35C-E52A37B96AD5}">
      <dsp:nvSpPr>
        <dsp:cNvPr id="0" name=""/>
        <dsp:cNvSpPr/>
      </dsp:nvSpPr>
      <dsp:spPr>
        <a:xfrm rot="10800000">
          <a:off x="0" y="4510221"/>
          <a:ext cx="3455263" cy="758753"/>
        </a:xfrm>
        <a:prstGeom prst="upArrowCallout">
          <a:avLst/>
        </a:prstGeom>
        <a:solidFill>
          <a:schemeClr val="accent2">
            <a:shade val="80000"/>
            <a:hueOff val="0"/>
            <a:satOff val="-1583"/>
            <a:lumOff val="406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zh-CN" sz="1400" kern="1200" dirty="0"/>
            <a:t>dense layer_2 (Units=128, Dropout=0,4)</a:t>
          </a:r>
          <a:endParaRPr lang="zh-CN" altLang="en-US" sz="1400" kern="1200" dirty="0"/>
        </a:p>
      </dsp:txBody>
      <dsp:txXfrm rot="-10800000">
        <a:off x="0" y="4510221"/>
        <a:ext cx="3455263" cy="266322"/>
      </dsp:txXfrm>
    </dsp:sp>
    <dsp:sp modelId="{CBD6CE25-C0B5-FA4B-ABC5-FAF9BAC151C7}">
      <dsp:nvSpPr>
        <dsp:cNvPr id="0" name=""/>
        <dsp:cNvSpPr/>
      </dsp:nvSpPr>
      <dsp:spPr>
        <a:xfrm>
          <a:off x="0" y="4776543"/>
          <a:ext cx="3455263" cy="22686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zh-CN" sz="1600" kern="1200" dirty="0"/>
            <a:t>128</a:t>
          </a:r>
          <a:endParaRPr lang="zh-CN" altLang="en-US" sz="1600" kern="1200" dirty="0"/>
        </a:p>
      </dsp:txBody>
      <dsp:txXfrm>
        <a:off x="0" y="4776543"/>
        <a:ext cx="3455263" cy="226867"/>
      </dsp:txXfrm>
    </dsp:sp>
    <dsp:sp modelId="{ABD765D8-4567-7C45-9416-36A9951DFD3E}">
      <dsp:nvSpPr>
        <dsp:cNvPr id="0" name=""/>
        <dsp:cNvSpPr/>
      </dsp:nvSpPr>
      <dsp:spPr>
        <a:xfrm rot="10800000">
          <a:off x="0" y="3758867"/>
          <a:ext cx="3455263" cy="758753"/>
        </a:xfrm>
        <a:prstGeom prst="upArrowCallout">
          <a:avLst/>
        </a:prstGeom>
        <a:solidFill>
          <a:schemeClr val="accent2">
            <a:shade val="80000"/>
            <a:hueOff val="0"/>
            <a:satOff val="-3166"/>
            <a:lumOff val="812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zh-CN" sz="1400" kern="1200" dirty="0"/>
            <a:t>dense layer_1 (Units=128, Dropout=0,4)</a:t>
          </a:r>
          <a:endParaRPr lang="zh-CN" altLang="en-US" sz="1400" kern="1200" dirty="0"/>
        </a:p>
      </dsp:txBody>
      <dsp:txXfrm rot="-10800000">
        <a:off x="0" y="3758867"/>
        <a:ext cx="3455263" cy="266322"/>
      </dsp:txXfrm>
    </dsp:sp>
    <dsp:sp modelId="{255CF012-590D-A74E-AB03-61D53C567F8B}">
      <dsp:nvSpPr>
        <dsp:cNvPr id="0" name=""/>
        <dsp:cNvSpPr/>
      </dsp:nvSpPr>
      <dsp:spPr>
        <a:xfrm>
          <a:off x="0" y="3956812"/>
          <a:ext cx="3455263" cy="22686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zh-CN" sz="1600" kern="1200" dirty="0"/>
            <a:t>128</a:t>
          </a:r>
          <a:endParaRPr lang="zh-CN" altLang="en-US" sz="1600" kern="1200" dirty="0"/>
        </a:p>
      </dsp:txBody>
      <dsp:txXfrm>
        <a:off x="0" y="3956812"/>
        <a:ext cx="3455263" cy="226867"/>
      </dsp:txXfrm>
    </dsp:sp>
    <dsp:sp modelId="{A84D6EB9-72BB-D542-B2EB-88607C7BDFF9}">
      <dsp:nvSpPr>
        <dsp:cNvPr id="0" name=""/>
        <dsp:cNvSpPr/>
      </dsp:nvSpPr>
      <dsp:spPr>
        <a:xfrm rot="10800000">
          <a:off x="0" y="3007514"/>
          <a:ext cx="3455263" cy="758753"/>
        </a:xfrm>
        <a:prstGeom prst="upArrowCallout">
          <a:avLst/>
        </a:prstGeom>
        <a:solidFill>
          <a:schemeClr val="accent2">
            <a:shade val="80000"/>
            <a:hueOff val="0"/>
            <a:satOff val="-4749"/>
            <a:lumOff val="1219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zh-CN" sz="1600" kern="1200" dirty="0"/>
            <a:t>lstm_5 (Units=32, Dropout=0,3)</a:t>
          </a:r>
          <a:endParaRPr lang="zh-CN" altLang="en-US" sz="1600" kern="1200" dirty="0"/>
        </a:p>
      </dsp:txBody>
      <dsp:txXfrm rot="-10800000">
        <a:off x="0" y="3007514"/>
        <a:ext cx="3455263" cy="266322"/>
      </dsp:txXfrm>
    </dsp:sp>
    <dsp:sp modelId="{4BA50EF8-6D84-6141-A810-9085B3E539EA}">
      <dsp:nvSpPr>
        <dsp:cNvPr id="0" name=""/>
        <dsp:cNvSpPr/>
      </dsp:nvSpPr>
      <dsp:spPr>
        <a:xfrm>
          <a:off x="0" y="3273836"/>
          <a:ext cx="3455263" cy="22686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zh-CN" sz="1600" kern="1200" dirty="0"/>
            <a:t>32</a:t>
          </a:r>
          <a:endParaRPr lang="zh-CN" altLang="en-US" sz="1600" kern="1200" dirty="0"/>
        </a:p>
      </dsp:txBody>
      <dsp:txXfrm>
        <a:off x="0" y="3273836"/>
        <a:ext cx="3455263" cy="226867"/>
      </dsp:txXfrm>
    </dsp:sp>
    <dsp:sp modelId="{A066E824-FEDC-EB4A-88BA-305AC22D57B4}">
      <dsp:nvSpPr>
        <dsp:cNvPr id="0" name=""/>
        <dsp:cNvSpPr/>
      </dsp:nvSpPr>
      <dsp:spPr>
        <a:xfrm rot="10800000">
          <a:off x="0" y="2256160"/>
          <a:ext cx="3455263" cy="758753"/>
        </a:xfrm>
        <a:prstGeom prst="upArrowCallout">
          <a:avLst/>
        </a:prstGeom>
        <a:solidFill>
          <a:schemeClr val="accent2">
            <a:shade val="80000"/>
            <a:hueOff val="0"/>
            <a:satOff val="-6332"/>
            <a:lumOff val="1625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zh-CN" sz="1600" kern="1200" dirty="0"/>
            <a:t>lstm_4 (Units=32, Dropout=0,3)</a:t>
          </a:r>
          <a:endParaRPr lang="zh-CN" altLang="en-US" sz="1600" kern="1200" dirty="0"/>
        </a:p>
      </dsp:txBody>
      <dsp:txXfrm rot="-10800000">
        <a:off x="0" y="2256160"/>
        <a:ext cx="3455263" cy="266322"/>
      </dsp:txXfrm>
    </dsp:sp>
    <dsp:sp modelId="{50A67DB9-79F5-1D47-8C80-9BD1675366DC}">
      <dsp:nvSpPr>
        <dsp:cNvPr id="0" name=""/>
        <dsp:cNvSpPr/>
      </dsp:nvSpPr>
      <dsp:spPr>
        <a:xfrm>
          <a:off x="0" y="2522483"/>
          <a:ext cx="3455263" cy="22686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zh-CN" sz="1600" kern="1200" dirty="0"/>
            <a:t>31 X 32</a:t>
          </a:r>
          <a:endParaRPr lang="zh-CN" altLang="en-US" sz="1600" kern="1200" dirty="0"/>
        </a:p>
      </dsp:txBody>
      <dsp:txXfrm>
        <a:off x="0" y="2522483"/>
        <a:ext cx="3455263" cy="226867"/>
      </dsp:txXfrm>
    </dsp:sp>
    <dsp:sp modelId="{5962EBDC-EDBC-EB43-BFEC-72F4C54D49B0}">
      <dsp:nvSpPr>
        <dsp:cNvPr id="0" name=""/>
        <dsp:cNvSpPr/>
      </dsp:nvSpPr>
      <dsp:spPr>
        <a:xfrm rot="10800000">
          <a:off x="0" y="1504807"/>
          <a:ext cx="3455263" cy="758753"/>
        </a:xfrm>
        <a:prstGeom prst="upArrowCallout">
          <a:avLst/>
        </a:prstGeom>
        <a:solidFill>
          <a:schemeClr val="accent2">
            <a:shade val="80000"/>
            <a:hueOff val="0"/>
            <a:satOff val="-7915"/>
            <a:lumOff val="2032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zh-CN" sz="1600" kern="1200" dirty="0"/>
            <a:t>lstm_3 (Units=32, Dropout=0,3)</a:t>
          </a:r>
          <a:endParaRPr lang="zh-CN" altLang="en-US" sz="1600" kern="1200" dirty="0"/>
        </a:p>
      </dsp:txBody>
      <dsp:txXfrm rot="-10800000">
        <a:off x="0" y="1504807"/>
        <a:ext cx="3455263" cy="266322"/>
      </dsp:txXfrm>
    </dsp:sp>
    <dsp:sp modelId="{6C77FDDF-0215-CE42-A553-6EC759DA31DB}">
      <dsp:nvSpPr>
        <dsp:cNvPr id="0" name=""/>
        <dsp:cNvSpPr/>
      </dsp:nvSpPr>
      <dsp:spPr>
        <a:xfrm>
          <a:off x="0" y="1771129"/>
          <a:ext cx="3455263" cy="22686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zh-CN" sz="1600" kern="1200" dirty="0"/>
            <a:t>62 X 32</a:t>
          </a:r>
          <a:endParaRPr lang="zh-CN" altLang="en-US" sz="1600" kern="1200" dirty="0"/>
        </a:p>
      </dsp:txBody>
      <dsp:txXfrm>
        <a:off x="0" y="1771129"/>
        <a:ext cx="3455263" cy="226867"/>
      </dsp:txXfrm>
    </dsp:sp>
    <dsp:sp modelId="{814B1545-A225-E24B-B910-8E0CCD464B45}">
      <dsp:nvSpPr>
        <dsp:cNvPr id="0" name=""/>
        <dsp:cNvSpPr/>
      </dsp:nvSpPr>
      <dsp:spPr>
        <a:xfrm rot="10800000">
          <a:off x="0" y="753453"/>
          <a:ext cx="3455263" cy="758753"/>
        </a:xfrm>
        <a:prstGeom prst="upArrowCallout">
          <a:avLst/>
        </a:prstGeom>
        <a:solidFill>
          <a:schemeClr val="accent2">
            <a:shade val="80000"/>
            <a:hueOff val="0"/>
            <a:satOff val="-9498"/>
            <a:lumOff val="2438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zh-CN" sz="1600" kern="1200" dirty="0"/>
            <a:t>lstm_2 (Units=32, Dropout=0,3)</a:t>
          </a:r>
          <a:endParaRPr lang="zh-CN" altLang="en-US" sz="1600" kern="1200" dirty="0"/>
        </a:p>
      </dsp:txBody>
      <dsp:txXfrm rot="-10800000">
        <a:off x="0" y="753453"/>
        <a:ext cx="3455263" cy="266322"/>
      </dsp:txXfrm>
    </dsp:sp>
    <dsp:sp modelId="{5A88BCBD-7676-DA4D-B96E-98120A4ECF34}">
      <dsp:nvSpPr>
        <dsp:cNvPr id="0" name=""/>
        <dsp:cNvSpPr/>
      </dsp:nvSpPr>
      <dsp:spPr>
        <a:xfrm>
          <a:off x="0" y="1019776"/>
          <a:ext cx="3455263" cy="22686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zh-CN" sz="1600" kern="1200" dirty="0"/>
            <a:t>125 X 32</a:t>
          </a:r>
          <a:endParaRPr lang="zh-CN" altLang="en-US" sz="1600" kern="1200" dirty="0"/>
        </a:p>
      </dsp:txBody>
      <dsp:txXfrm>
        <a:off x="0" y="1019776"/>
        <a:ext cx="3455263" cy="226867"/>
      </dsp:txXfrm>
    </dsp:sp>
    <dsp:sp modelId="{5BEF42B0-2EA9-DC4C-8D73-F9D8F84851EF}">
      <dsp:nvSpPr>
        <dsp:cNvPr id="0" name=""/>
        <dsp:cNvSpPr/>
      </dsp:nvSpPr>
      <dsp:spPr>
        <a:xfrm rot="10800000">
          <a:off x="0" y="2100"/>
          <a:ext cx="3455263" cy="758753"/>
        </a:xfrm>
        <a:prstGeom prst="upArrowCallout">
          <a:avLst/>
        </a:prstGeom>
        <a:solidFill>
          <a:schemeClr val="accent2">
            <a:shade val="80000"/>
            <a:hueOff val="0"/>
            <a:satOff val="-11081"/>
            <a:lumOff val="2844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600" kern="1200" dirty="0"/>
            <a:t>lstm_1 </a:t>
          </a:r>
          <a:r>
            <a:rPr lang="de-DE" altLang="zh-CN" sz="1600" kern="1200" dirty="0"/>
            <a:t>(Units=32, Dropout=0,3)</a:t>
          </a:r>
          <a:endParaRPr lang="zh-CN" altLang="en-US" sz="1600" kern="1200" dirty="0"/>
        </a:p>
      </dsp:txBody>
      <dsp:txXfrm rot="-10800000">
        <a:off x="0" y="2100"/>
        <a:ext cx="3455263" cy="266322"/>
      </dsp:txXfrm>
    </dsp:sp>
    <dsp:sp modelId="{1FFD4D36-5EF8-3349-A042-0E273035ED14}">
      <dsp:nvSpPr>
        <dsp:cNvPr id="0" name=""/>
        <dsp:cNvSpPr/>
      </dsp:nvSpPr>
      <dsp:spPr>
        <a:xfrm>
          <a:off x="0" y="268423"/>
          <a:ext cx="3455263" cy="22686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zh-CN" sz="1600" kern="1200" dirty="0"/>
            <a:t>250 X 32</a:t>
          </a:r>
          <a:endParaRPr lang="zh-CN" altLang="en-US" sz="1600" kern="1200" dirty="0"/>
        </a:p>
      </dsp:txBody>
      <dsp:txXfrm>
        <a:off x="0" y="268423"/>
        <a:ext cx="3455263" cy="22686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C579D9-C8BD-7443-A58A-6C77C503CD73}">
      <dsp:nvSpPr>
        <dsp:cNvPr id="0" name=""/>
        <dsp:cNvSpPr/>
      </dsp:nvSpPr>
      <dsp:spPr>
        <a:xfrm>
          <a:off x="0" y="3755963"/>
          <a:ext cx="3386507" cy="492968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zh-CN" sz="1600" kern="1200" dirty="0"/>
            <a:t>dense layer_2 ( Softmax)</a:t>
          </a:r>
          <a:endParaRPr lang="zh-CN" altLang="en-US" sz="1600" kern="1200" dirty="0"/>
        </a:p>
      </dsp:txBody>
      <dsp:txXfrm>
        <a:off x="0" y="3755963"/>
        <a:ext cx="3386507" cy="266202"/>
      </dsp:txXfrm>
    </dsp:sp>
    <dsp:sp modelId="{D5589B23-BD32-474A-A80F-EB17FC296D1E}">
      <dsp:nvSpPr>
        <dsp:cNvPr id="0" name=""/>
        <dsp:cNvSpPr/>
      </dsp:nvSpPr>
      <dsp:spPr>
        <a:xfrm>
          <a:off x="0" y="4012307"/>
          <a:ext cx="3386507" cy="226765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zh-CN" sz="1600" kern="1200" dirty="0"/>
            <a:t>12</a:t>
          </a:r>
          <a:endParaRPr lang="zh-CN" altLang="en-US" sz="1600" kern="1200" dirty="0"/>
        </a:p>
      </dsp:txBody>
      <dsp:txXfrm>
        <a:off x="0" y="4012307"/>
        <a:ext cx="3386507" cy="226765"/>
      </dsp:txXfrm>
    </dsp:sp>
    <dsp:sp modelId="{ABD765D8-4567-7C45-9416-36A9951DFD3E}">
      <dsp:nvSpPr>
        <dsp:cNvPr id="0" name=""/>
        <dsp:cNvSpPr/>
      </dsp:nvSpPr>
      <dsp:spPr>
        <a:xfrm rot="10800000">
          <a:off x="0" y="3005173"/>
          <a:ext cx="3386507" cy="758185"/>
        </a:xfrm>
        <a:prstGeom prst="upArrowCallout">
          <a:avLst/>
        </a:prstGeom>
        <a:solidFill>
          <a:schemeClr val="accent2">
            <a:shade val="80000"/>
            <a:hueOff val="0"/>
            <a:satOff val="-2216"/>
            <a:lumOff val="56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zh-CN" sz="1400" kern="1200" dirty="0"/>
            <a:t>dense layer_1 (Units=64, Dropout=0,3)</a:t>
          </a:r>
          <a:endParaRPr lang="zh-CN" altLang="en-US" sz="1400" kern="1200" dirty="0"/>
        </a:p>
      </dsp:txBody>
      <dsp:txXfrm rot="-10800000">
        <a:off x="0" y="3005173"/>
        <a:ext cx="3386507" cy="266122"/>
      </dsp:txXfrm>
    </dsp:sp>
    <dsp:sp modelId="{255CF012-590D-A74E-AB03-61D53C567F8B}">
      <dsp:nvSpPr>
        <dsp:cNvPr id="0" name=""/>
        <dsp:cNvSpPr/>
      </dsp:nvSpPr>
      <dsp:spPr>
        <a:xfrm>
          <a:off x="0" y="3271296"/>
          <a:ext cx="3386507" cy="22669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zh-CN" sz="1600" kern="1200" dirty="0"/>
            <a:t>64</a:t>
          </a:r>
          <a:endParaRPr lang="zh-CN" altLang="en-US" sz="1600" kern="1200" dirty="0"/>
        </a:p>
      </dsp:txBody>
      <dsp:txXfrm>
        <a:off x="0" y="3271296"/>
        <a:ext cx="3386507" cy="226697"/>
      </dsp:txXfrm>
    </dsp:sp>
    <dsp:sp modelId="{A066E824-FEDC-EB4A-88BA-305AC22D57B4}">
      <dsp:nvSpPr>
        <dsp:cNvPr id="0" name=""/>
        <dsp:cNvSpPr/>
      </dsp:nvSpPr>
      <dsp:spPr>
        <a:xfrm rot="10800000">
          <a:off x="0" y="2254382"/>
          <a:ext cx="3386507" cy="758185"/>
        </a:xfrm>
        <a:prstGeom prst="upArrowCallout">
          <a:avLst/>
        </a:prstGeom>
        <a:solidFill>
          <a:schemeClr val="accent2">
            <a:shade val="80000"/>
            <a:hueOff val="0"/>
            <a:satOff val="-4432"/>
            <a:lumOff val="1138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zh-CN" sz="1600" kern="1200" dirty="0"/>
            <a:t>gru_4 (Units=64, Dropout=0,1)</a:t>
          </a:r>
          <a:endParaRPr lang="zh-CN" altLang="en-US" sz="1600" kern="1200" dirty="0"/>
        </a:p>
      </dsp:txBody>
      <dsp:txXfrm rot="-10800000">
        <a:off x="0" y="2254382"/>
        <a:ext cx="3386507" cy="266122"/>
      </dsp:txXfrm>
    </dsp:sp>
    <dsp:sp modelId="{50A67DB9-79F5-1D47-8C80-9BD1675366DC}">
      <dsp:nvSpPr>
        <dsp:cNvPr id="0" name=""/>
        <dsp:cNvSpPr/>
      </dsp:nvSpPr>
      <dsp:spPr>
        <a:xfrm>
          <a:off x="0" y="2520505"/>
          <a:ext cx="3386507" cy="22669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zh-CN" sz="1600" kern="1200" dirty="0"/>
            <a:t>64</a:t>
          </a:r>
          <a:endParaRPr lang="zh-CN" altLang="en-US" sz="1600" kern="1200" dirty="0"/>
        </a:p>
      </dsp:txBody>
      <dsp:txXfrm>
        <a:off x="0" y="2520505"/>
        <a:ext cx="3386507" cy="226697"/>
      </dsp:txXfrm>
    </dsp:sp>
    <dsp:sp modelId="{5962EBDC-EDBC-EB43-BFEC-72F4C54D49B0}">
      <dsp:nvSpPr>
        <dsp:cNvPr id="0" name=""/>
        <dsp:cNvSpPr/>
      </dsp:nvSpPr>
      <dsp:spPr>
        <a:xfrm rot="10800000">
          <a:off x="0" y="1503592"/>
          <a:ext cx="3386507" cy="758185"/>
        </a:xfrm>
        <a:prstGeom prst="upArrowCallout">
          <a:avLst/>
        </a:prstGeom>
        <a:solidFill>
          <a:schemeClr val="accent2">
            <a:shade val="80000"/>
            <a:hueOff val="0"/>
            <a:satOff val="-6649"/>
            <a:lumOff val="1706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zh-CN" sz="1600" kern="1200" dirty="0"/>
            <a:t>gru_3 (Units=64, Dropout=0,1)</a:t>
          </a:r>
          <a:endParaRPr lang="zh-CN" altLang="en-US" sz="1600" kern="1200" dirty="0"/>
        </a:p>
      </dsp:txBody>
      <dsp:txXfrm rot="-10800000">
        <a:off x="0" y="1503592"/>
        <a:ext cx="3386507" cy="266122"/>
      </dsp:txXfrm>
    </dsp:sp>
    <dsp:sp modelId="{6C77FDDF-0215-CE42-A553-6EC759DA31DB}">
      <dsp:nvSpPr>
        <dsp:cNvPr id="0" name=""/>
        <dsp:cNvSpPr/>
      </dsp:nvSpPr>
      <dsp:spPr>
        <a:xfrm>
          <a:off x="0" y="1769715"/>
          <a:ext cx="3386507" cy="22669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zh-CN" sz="1600" kern="1200" dirty="0"/>
            <a:t>62 X 64</a:t>
          </a:r>
          <a:endParaRPr lang="zh-CN" altLang="en-US" sz="1600" kern="1200" dirty="0"/>
        </a:p>
      </dsp:txBody>
      <dsp:txXfrm>
        <a:off x="0" y="1769715"/>
        <a:ext cx="3386507" cy="226697"/>
      </dsp:txXfrm>
    </dsp:sp>
    <dsp:sp modelId="{814B1545-A225-E24B-B910-8E0CCD464B45}">
      <dsp:nvSpPr>
        <dsp:cNvPr id="0" name=""/>
        <dsp:cNvSpPr/>
      </dsp:nvSpPr>
      <dsp:spPr>
        <a:xfrm rot="10800000">
          <a:off x="0" y="752801"/>
          <a:ext cx="3386507" cy="758185"/>
        </a:xfrm>
        <a:prstGeom prst="upArrowCallout">
          <a:avLst/>
        </a:prstGeom>
        <a:solidFill>
          <a:schemeClr val="accent2">
            <a:shade val="80000"/>
            <a:hueOff val="0"/>
            <a:satOff val="-8865"/>
            <a:lumOff val="2275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zh-CN" sz="1600" kern="1200" dirty="0"/>
            <a:t>gru_2 (Units=64, Dropout=0,1)</a:t>
          </a:r>
          <a:endParaRPr lang="zh-CN" altLang="en-US" sz="1600" kern="1200" dirty="0"/>
        </a:p>
      </dsp:txBody>
      <dsp:txXfrm rot="-10800000">
        <a:off x="0" y="752801"/>
        <a:ext cx="3386507" cy="266122"/>
      </dsp:txXfrm>
    </dsp:sp>
    <dsp:sp modelId="{5A88BCBD-7676-DA4D-B96E-98120A4ECF34}">
      <dsp:nvSpPr>
        <dsp:cNvPr id="0" name=""/>
        <dsp:cNvSpPr/>
      </dsp:nvSpPr>
      <dsp:spPr>
        <a:xfrm>
          <a:off x="0" y="1018924"/>
          <a:ext cx="3386507" cy="22669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zh-CN" sz="1600" kern="1200" dirty="0"/>
            <a:t>125 X 64</a:t>
          </a:r>
          <a:endParaRPr lang="zh-CN" altLang="en-US" sz="1600" kern="1200" dirty="0"/>
        </a:p>
      </dsp:txBody>
      <dsp:txXfrm>
        <a:off x="0" y="1018924"/>
        <a:ext cx="3386507" cy="226697"/>
      </dsp:txXfrm>
    </dsp:sp>
    <dsp:sp modelId="{5BEF42B0-2EA9-DC4C-8D73-F9D8F84851EF}">
      <dsp:nvSpPr>
        <dsp:cNvPr id="0" name=""/>
        <dsp:cNvSpPr/>
      </dsp:nvSpPr>
      <dsp:spPr>
        <a:xfrm rot="10800000">
          <a:off x="0" y="2010"/>
          <a:ext cx="3386507" cy="758185"/>
        </a:xfrm>
        <a:prstGeom prst="upArrowCallout">
          <a:avLst/>
        </a:prstGeom>
        <a:solidFill>
          <a:schemeClr val="accent2">
            <a:shade val="80000"/>
            <a:hueOff val="0"/>
            <a:satOff val="-11081"/>
            <a:lumOff val="2844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600" kern="1200" dirty="0"/>
            <a:t>gru_1 </a:t>
          </a:r>
          <a:r>
            <a:rPr lang="de-DE" altLang="zh-CN" sz="1600" kern="1200" dirty="0"/>
            <a:t>(Units=64, Dropout=0,1)</a:t>
          </a:r>
          <a:endParaRPr lang="zh-CN" altLang="en-US" sz="1600" kern="1200" dirty="0"/>
        </a:p>
      </dsp:txBody>
      <dsp:txXfrm rot="-10800000">
        <a:off x="0" y="2010"/>
        <a:ext cx="3386507" cy="266122"/>
      </dsp:txXfrm>
    </dsp:sp>
    <dsp:sp modelId="{1FFD4D36-5EF8-3349-A042-0E273035ED14}">
      <dsp:nvSpPr>
        <dsp:cNvPr id="0" name=""/>
        <dsp:cNvSpPr/>
      </dsp:nvSpPr>
      <dsp:spPr>
        <a:xfrm>
          <a:off x="0" y="268133"/>
          <a:ext cx="3386507" cy="22669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zh-CN" sz="1600" kern="1200" dirty="0"/>
            <a:t>250 X 64</a:t>
          </a:r>
          <a:endParaRPr lang="zh-CN" altLang="en-US" sz="1600" kern="1200" dirty="0"/>
        </a:p>
      </dsp:txBody>
      <dsp:txXfrm>
        <a:off x="0" y="268133"/>
        <a:ext cx="3386507" cy="22669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>
            <a:extLst>
              <a:ext uri="{FF2B5EF4-FFF2-40B4-BE49-F238E27FC236}">
                <a16:creationId xmlns:a16="http://schemas.microsoft.com/office/drawing/2014/main" id="{505269DD-9805-593A-41C3-A552140A7377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0" tIns="47710" rIns="95420" bIns="47710" numCol="1" anchor="t" anchorCtr="0" compatLnSpc="1">
            <a:prstTxWarp prst="textNoShape">
              <a:avLst/>
            </a:prstTxWarp>
          </a:bodyPr>
          <a:lstStyle>
            <a:lvl1pPr defTabSz="954088" eaLnBrk="1" hangingPunct="1">
              <a:defRPr sz="13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3011" name="Rectangle 3">
            <a:extLst>
              <a:ext uri="{FF2B5EF4-FFF2-40B4-BE49-F238E27FC236}">
                <a16:creationId xmlns:a16="http://schemas.microsoft.com/office/drawing/2014/main" id="{2C0408DF-8915-9ED7-A5C0-ADCC71892D76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0" tIns="47710" rIns="95420" bIns="47710" numCol="1" anchor="t" anchorCtr="0" compatLnSpc="1">
            <a:prstTxWarp prst="textNoShape">
              <a:avLst/>
            </a:prstTxWarp>
          </a:bodyPr>
          <a:lstStyle>
            <a:lvl1pPr algn="r" defTabSz="954088" eaLnBrk="1" hangingPunct="1">
              <a:defRPr sz="13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3012" name="Rectangle 4">
            <a:extLst>
              <a:ext uri="{FF2B5EF4-FFF2-40B4-BE49-F238E27FC236}">
                <a16:creationId xmlns:a16="http://schemas.microsoft.com/office/drawing/2014/main" id="{8CD986B8-B1D8-FCB6-1A76-FDD664401B90}"/>
              </a:ext>
            </a:extLst>
          </p:cNvPr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0" tIns="47710" rIns="95420" bIns="47710" numCol="1" anchor="b" anchorCtr="0" compatLnSpc="1">
            <a:prstTxWarp prst="textNoShape">
              <a:avLst/>
            </a:prstTxWarp>
          </a:bodyPr>
          <a:lstStyle>
            <a:lvl1pPr defTabSz="954088" eaLnBrk="1" hangingPunct="1">
              <a:defRPr sz="13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3013" name="Rectangle 5">
            <a:extLst>
              <a:ext uri="{FF2B5EF4-FFF2-40B4-BE49-F238E27FC236}">
                <a16:creationId xmlns:a16="http://schemas.microsoft.com/office/drawing/2014/main" id="{A52B355C-B48D-9044-028E-FCF70E3AB9C1}"/>
              </a:ext>
            </a:extLst>
          </p:cNvPr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0" tIns="47710" rIns="95420" bIns="47710" numCol="1" anchor="b" anchorCtr="0" compatLnSpc="1">
            <a:prstTxWarp prst="textNoShape">
              <a:avLst/>
            </a:prstTxWarp>
          </a:bodyPr>
          <a:lstStyle>
            <a:lvl1pPr algn="r" defTabSz="954088" eaLnBrk="1" hangingPunct="1">
              <a:defRPr sz="1300" baseline="0">
                <a:latin typeface="Arial" panose="020B0604020202020204" pitchFamily="34" charset="0"/>
              </a:defRPr>
            </a:lvl1pPr>
          </a:lstStyle>
          <a:p>
            <a:fld id="{28FC4F19-9DF5-B648-86FA-15A6E783A274}" type="slidenum">
              <a:rPr lang="de-DE" altLang="zh-CN"/>
              <a:pPr/>
              <a:t>‹#›</a:t>
            </a:fld>
            <a:endParaRPr lang="de-DE" altLang="zh-CN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2">
            <a:extLst>
              <a:ext uri="{FF2B5EF4-FFF2-40B4-BE49-F238E27FC236}">
                <a16:creationId xmlns:a16="http://schemas.microsoft.com/office/drawing/2014/main" id="{42553C0C-CAFA-6B42-EB33-6844BE015425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31075" name="Rectangle 3">
            <a:extLst>
              <a:ext uri="{FF2B5EF4-FFF2-40B4-BE49-F238E27FC236}">
                <a16:creationId xmlns:a16="http://schemas.microsoft.com/office/drawing/2014/main" id="{9ED96FAF-5DEE-E000-75F0-76C58D906837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4" name="Rectangle 4">
            <a:extLst>
              <a:ext uri="{FF2B5EF4-FFF2-40B4-BE49-F238E27FC236}">
                <a16:creationId xmlns:a16="http://schemas.microsoft.com/office/drawing/2014/main" id="{330103AE-CCE8-AC89-8785-7BE4D73F04F2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8350"/>
            <a:ext cx="5114925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1077" name="Rectangle 5">
            <a:extLst>
              <a:ext uri="{FF2B5EF4-FFF2-40B4-BE49-F238E27FC236}">
                <a16:creationId xmlns:a16="http://schemas.microsoft.com/office/drawing/2014/main" id="{ACAB0423-7644-9DA5-6756-E93EB01CE579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13" y="4860925"/>
            <a:ext cx="5680075" cy="4605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1078" name="Rectangle 6">
            <a:extLst>
              <a:ext uri="{FF2B5EF4-FFF2-40B4-BE49-F238E27FC236}">
                <a16:creationId xmlns:a16="http://schemas.microsoft.com/office/drawing/2014/main" id="{559441DB-5667-8C4C-7E0B-AF23152EC243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baseline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31079" name="Rectangle 7">
            <a:extLst>
              <a:ext uri="{FF2B5EF4-FFF2-40B4-BE49-F238E27FC236}">
                <a16:creationId xmlns:a16="http://schemas.microsoft.com/office/drawing/2014/main" id="{E42DA4C9-F7AE-7096-9D4C-1731C24B7EF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baseline="0">
                <a:latin typeface="Arial" panose="020B0604020202020204" pitchFamily="34" charset="0"/>
              </a:defRPr>
            </a:lvl1pPr>
          </a:lstStyle>
          <a:p>
            <a:fld id="{975A513A-551E-624B-A6AD-EF32123591BD}" type="slidenum">
              <a:rPr lang="de-DE" altLang="zh-CN"/>
              <a:pPr/>
              <a:t>‹#›</a:t>
            </a:fld>
            <a:endParaRPr lang="de-DE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7">
            <a:extLst>
              <a:ext uri="{FF2B5EF4-FFF2-40B4-BE49-F238E27FC236}">
                <a16:creationId xmlns:a16="http://schemas.microsoft.com/office/drawing/2014/main" id="{492E40A7-C428-29FF-A504-429E5DB04AF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fld id="{02F9902C-3E32-9D40-B2C0-2C64C1FAFEAB}" type="slidenum">
              <a:rPr lang="de-DE" altLang="zh-CN" sz="1200" baseline="0">
                <a:latin typeface="Arial" panose="020B0604020202020204" pitchFamily="34" charset="0"/>
              </a:rPr>
              <a:pPr/>
              <a:t>1</a:t>
            </a:fld>
            <a:endParaRPr lang="de-DE" altLang="zh-CN" sz="1200" baseline="0">
              <a:latin typeface="Arial" panose="020B0604020202020204" pitchFamily="34" charset="0"/>
            </a:endParaRPr>
          </a:p>
        </p:txBody>
      </p:sp>
      <p:sp>
        <p:nvSpPr>
          <p:cNvPr id="6147" name="Rectangle 2">
            <a:extLst>
              <a:ext uri="{FF2B5EF4-FFF2-40B4-BE49-F238E27FC236}">
                <a16:creationId xmlns:a16="http://schemas.microsoft.com/office/drawing/2014/main" id="{710AC4E6-B616-44F0-3ED6-43119A5F6D5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8" name="Rectangle 3">
            <a:extLst>
              <a:ext uri="{FF2B5EF4-FFF2-40B4-BE49-F238E27FC236}">
                <a16:creationId xmlns:a16="http://schemas.microsoft.com/office/drawing/2014/main" id="{0210CA3F-9A97-A56B-E09A-889A9A820FD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zh-CN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7">
            <a:extLst>
              <a:ext uri="{FF2B5EF4-FFF2-40B4-BE49-F238E27FC236}">
                <a16:creationId xmlns:a16="http://schemas.microsoft.com/office/drawing/2014/main" id="{492E40A7-C428-29FF-A504-429E5DB04AF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fld id="{02F9902C-3E32-9D40-B2C0-2C64C1FAFEAB}" type="slidenum">
              <a:rPr lang="de-DE" altLang="zh-CN" sz="1200" baseline="0">
                <a:latin typeface="Arial" panose="020B0604020202020204" pitchFamily="34" charset="0"/>
              </a:rPr>
              <a:pPr/>
              <a:t>14</a:t>
            </a:fld>
            <a:endParaRPr lang="de-DE" altLang="zh-CN" sz="1200" baseline="0">
              <a:latin typeface="Arial" panose="020B0604020202020204" pitchFamily="34" charset="0"/>
            </a:endParaRPr>
          </a:p>
        </p:txBody>
      </p:sp>
      <p:sp>
        <p:nvSpPr>
          <p:cNvPr id="6147" name="Rectangle 2">
            <a:extLst>
              <a:ext uri="{FF2B5EF4-FFF2-40B4-BE49-F238E27FC236}">
                <a16:creationId xmlns:a16="http://schemas.microsoft.com/office/drawing/2014/main" id="{710AC4E6-B616-44F0-3ED6-43119A5F6D5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8" name="Rectangle 3">
            <a:extLst>
              <a:ext uri="{FF2B5EF4-FFF2-40B4-BE49-F238E27FC236}">
                <a16:creationId xmlns:a16="http://schemas.microsoft.com/office/drawing/2014/main" id="{0210CA3F-9A97-A56B-E09A-889A9A820FD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zh-CN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27980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>
            <a:extLst>
              <a:ext uri="{FF2B5EF4-FFF2-40B4-BE49-F238E27FC236}">
                <a16:creationId xmlns:a16="http://schemas.microsoft.com/office/drawing/2014/main" id="{D06FC9AA-B64D-D24D-3625-A6B48A90E1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20713"/>
            <a:ext cx="8097838" cy="36512"/>
          </a:xfrm>
          <a:prstGeom prst="rect">
            <a:avLst/>
          </a:prstGeom>
          <a:solidFill>
            <a:srgbClr val="000080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zh-CN" altLang="zh-CN"/>
          </a:p>
        </p:txBody>
      </p:sp>
      <p:sp>
        <p:nvSpPr>
          <p:cNvPr id="3" name="Rectangle 13">
            <a:extLst>
              <a:ext uri="{FF2B5EF4-FFF2-40B4-BE49-F238E27FC236}">
                <a16:creationId xmlns:a16="http://schemas.microsoft.com/office/drawing/2014/main" id="{2FA1A55F-5967-00BB-CB92-3D7CFC1582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178675"/>
            <a:ext cx="10077450" cy="36513"/>
          </a:xfrm>
          <a:prstGeom prst="rect">
            <a:avLst/>
          </a:prstGeom>
          <a:solidFill>
            <a:srgbClr val="000080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zh-CN" altLang="zh-CN"/>
          </a:p>
        </p:txBody>
      </p:sp>
      <p:pic>
        <p:nvPicPr>
          <p:cNvPr id="4" name="Grafik 11">
            <a:extLst>
              <a:ext uri="{FF2B5EF4-FFF2-40B4-BE49-F238E27FC236}">
                <a16:creationId xmlns:a16="http://schemas.microsoft.com/office/drawing/2014/main" id="{3EBFD50D-D6B5-1E8C-5AA5-674B93EF5B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45525" y="80963"/>
            <a:ext cx="1281113" cy="963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03275" y="2271713"/>
            <a:ext cx="8569325" cy="1665287"/>
          </a:xfrm>
        </p:spPr>
        <p:txBody>
          <a:bodyPr lIns="100778" tIns="50390" rIns="100778" bIns="50390" anchor="ctr" anchorCtr="1"/>
          <a:lstStyle>
            <a:lvl1pPr algn="ctr">
              <a:defRPr sz="3600"/>
            </a:lvl1pPr>
          </a:lstStyle>
          <a:p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106738" y="4113213"/>
            <a:ext cx="3889375" cy="863600"/>
          </a:xfrm>
        </p:spPr>
        <p:txBody>
          <a:bodyPr>
            <a:spAutoFit/>
          </a:bodyPr>
          <a:lstStyle>
            <a:lvl1pPr algn="ctr">
              <a:defRPr sz="2500">
                <a:solidFill>
                  <a:srgbClr val="000080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36819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8CE164EB-8455-082D-1480-F8EF4BAA6060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ame, Vorname - Datum</a:t>
            </a:r>
          </a:p>
        </p:txBody>
      </p:sp>
    </p:spTree>
    <p:extLst>
      <p:ext uri="{BB962C8B-B14F-4D97-AF65-F5344CB8AC3E}">
        <p14:creationId xmlns:p14="http://schemas.microsoft.com/office/powerpoint/2010/main" val="16389573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7483475" y="972319"/>
            <a:ext cx="2374900" cy="5965056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358775" y="756295"/>
            <a:ext cx="6972300" cy="6181080"/>
          </a:xfrm>
        </p:spPr>
        <p:txBody>
          <a:bodyPr vert="eaVert"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159B5277-7740-1D4E-C69D-42AEBF3C4157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ame, Vorname - Datum</a:t>
            </a:r>
          </a:p>
        </p:txBody>
      </p:sp>
    </p:spTree>
    <p:extLst>
      <p:ext uri="{BB962C8B-B14F-4D97-AF65-F5344CB8AC3E}">
        <p14:creationId xmlns:p14="http://schemas.microsoft.com/office/powerpoint/2010/main" val="22041814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47E62C4D-86A8-7DD4-6E65-96295AA2B77F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ame, Vorname - Datum</a:t>
            </a:r>
          </a:p>
        </p:txBody>
      </p:sp>
    </p:spTree>
    <p:extLst>
      <p:ext uri="{BB962C8B-B14F-4D97-AF65-F5344CB8AC3E}">
        <p14:creationId xmlns:p14="http://schemas.microsoft.com/office/powerpoint/2010/main" val="32980696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96925" y="4859338"/>
            <a:ext cx="8567738" cy="15017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96925" y="3205163"/>
            <a:ext cx="8567738" cy="16541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5B6D4607-910C-49DD-810C-6FC835978FAD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ame, Vorname - Datum</a:t>
            </a:r>
          </a:p>
        </p:txBody>
      </p:sp>
    </p:spTree>
    <p:extLst>
      <p:ext uri="{BB962C8B-B14F-4D97-AF65-F5344CB8AC3E}">
        <p14:creationId xmlns:p14="http://schemas.microsoft.com/office/powerpoint/2010/main" val="1821871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0363" y="755650"/>
            <a:ext cx="4672012" cy="618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184775" y="755650"/>
            <a:ext cx="4673600" cy="618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0343004A-E881-2032-9D33-7E823D1C0D56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ame, Vorname - Datum</a:t>
            </a:r>
          </a:p>
        </p:txBody>
      </p:sp>
    </p:spTree>
    <p:extLst>
      <p:ext uri="{BB962C8B-B14F-4D97-AF65-F5344CB8AC3E}">
        <p14:creationId xmlns:p14="http://schemas.microsoft.com/office/powerpoint/2010/main" val="22272672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59792" y="885081"/>
            <a:ext cx="4680520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59792" y="1605161"/>
            <a:ext cx="4680520" cy="541583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358775" y="115888"/>
            <a:ext cx="8281988" cy="479425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idx="11"/>
          </p:nvPr>
        </p:nvSpPr>
        <p:spPr>
          <a:xfrm>
            <a:off x="5112320" y="885081"/>
            <a:ext cx="4680520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1" name="Inhaltsplatzhalter 3"/>
          <p:cNvSpPr>
            <a:spLocks noGrp="1"/>
          </p:cNvSpPr>
          <p:nvPr>
            <p:ph sz="half" idx="12"/>
          </p:nvPr>
        </p:nvSpPr>
        <p:spPr>
          <a:xfrm>
            <a:off x="5112320" y="1605161"/>
            <a:ext cx="4680520" cy="541583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Rectangle 5">
            <a:extLst>
              <a:ext uri="{FF2B5EF4-FFF2-40B4-BE49-F238E27FC236}">
                <a16:creationId xmlns:a16="http://schemas.microsoft.com/office/drawing/2014/main" id="{AD643EFD-692B-DABB-8F2A-CAB7B4FFDA27}"/>
              </a:ext>
            </a:extLst>
          </p:cNvPr>
          <p:cNvSpPr>
            <a:spLocks noGrp="1" noChangeArrowheads="1"/>
          </p:cNvSpPr>
          <p:nvPr>
            <p:ph type="ftr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ame, Vorname - Datum</a:t>
            </a:r>
          </a:p>
        </p:txBody>
      </p:sp>
    </p:spTree>
    <p:extLst>
      <p:ext uri="{BB962C8B-B14F-4D97-AF65-F5344CB8AC3E}">
        <p14:creationId xmlns:p14="http://schemas.microsoft.com/office/powerpoint/2010/main" val="4761617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920F30DA-E5BA-9493-E66B-2E73A49109F3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ame, Vorname - Datum</a:t>
            </a:r>
          </a:p>
        </p:txBody>
      </p:sp>
    </p:spTree>
    <p:extLst>
      <p:ext uri="{BB962C8B-B14F-4D97-AF65-F5344CB8AC3E}">
        <p14:creationId xmlns:p14="http://schemas.microsoft.com/office/powerpoint/2010/main" val="9085101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>
            <a:extLst>
              <a:ext uri="{FF2B5EF4-FFF2-40B4-BE49-F238E27FC236}">
                <a16:creationId xmlns:a16="http://schemas.microsoft.com/office/drawing/2014/main" id="{FAB64828-E04B-E291-703A-CE1DEC9E5151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ame, Vorname - Datum</a:t>
            </a:r>
          </a:p>
        </p:txBody>
      </p:sp>
    </p:spTree>
    <p:extLst>
      <p:ext uri="{BB962C8B-B14F-4D97-AF65-F5344CB8AC3E}">
        <p14:creationId xmlns:p14="http://schemas.microsoft.com/office/powerpoint/2010/main" val="42228671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4825" y="763949"/>
            <a:ext cx="3316288" cy="128111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41763" y="756295"/>
            <a:ext cx="5635625" cy="619268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04825" y="2045062"/>
            <a:ext cx="3316288" cy="4903921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3FDCA8C6-DC7F-6682-46C4-24BA22B87D1A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ame, Vorname - Datum</a:t>
            </a:r>
          </a:p>
        </p:txBody>
      </p:sp>
    </p:spTree>
    <p:extLst>
      <p:ext uri="{BB962C8B-B14F-4D97-AF65-F5344CB8AC3E}">
        <p14:creationId xmlns:p14="http://schemas.microsoft.com/office/powerpoint/2010/main" val="42017552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6438" y="5292725"/>
            <a:ext cx="6048375" cy="6254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976438" y="676275"/>
            <a:ext cx="6048375" cy="453548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976438" y="5918200"/>
            <a:ext cx="6048375" cy="88741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DC42EB57-3EA6-2BCF-AEF8-AAC42CC41503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Name, Vorname - Datum</a:t>
            </a:r>
          </a:p>
        </p:txBody>
      </p:sp>
    </p:spTree>
    <p:extLst>
      <p:ext uri="{BB962C8B-B14F-4D97-AF65-F5344CB8AC3E}">
        <p14:creationId xmlns:p14="http://schemas.microsoft.com/office/powerpoint/2010/main" val="26300818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>
            <a:extLst>
              <a:ext uri="{FF2B5EF4-FFF2-40B4-BE49-F238E27FC236}">
                <a16:creationId xmlns:a16="http://schemas.microsoft.com/office/drawing/2014/main" id="{B5E3E251-140A-18BF-348B-9DF8B3821C2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360363" y="755650"/>
            <a:ext cx="9498012" cy="6181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778" tIns="50390" rIns="100778" bIns="5039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zh-CN"/>
              <a:t>Hier klicken, um …</a:t>
            </a:r>
          </a:p>
          <a:p>
            <a:pPr lvl="1"/>
            <a:r>
              <a:rPr lang="de-DE" altLang="zh-CN"/>
              <a:t>Erste Ebene</a:t>
            </a:r>
          </a:p>
          <a:p>
            <a:pPr lvl="2"/>
            <a:r>
              <a:rPr lang="de-DE" altLang="zh-CN"/>
              <a:t>Dritte Ebene</a:t>
            </a:r>
          </a:p>
          <a:p>
            <a:pPr lvl="3"/>
            <a:r>
              <a:rPr lang="de-DE" altLang="zh-CN"/>
              <a:t>Vierte Ebene</a:t>
            </a:r>
          </a:p>
          <a:p>
            <a:pPr lvl="4"/>
            <a:r>
              <a:rPr lang="de-DE" altLang="zh-CN"/>
              <a:t>Fünfte Ebene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209BFECD-8173-5B4B-86C7-BAD2185723A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58775" y="115888"/>
            <a:ext cx="8281988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800" tIns="0" rIns="10080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altLang="zh-CN"/>
          </a:p>
        </p:txBody>
      </p:sp>
      <p:sp>
        <p:nvSpPr>
          <p:cNvPr id="4101" name="Rectangle 5">
            <a:extLst>
              <a:ext uri="{FF2B5EF4-FFF2-40B4-BE49-F238E27FC236}">
                <a16:creationId xmlns:a16="http://schemas.microsoft.com/office/drawing/2014/main" id="{ACF1B087-C562-ED6C-FCB7-300A6A4C579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52400" y="7296150"/>
            <a:ext cx="4125913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1100" b="1" baseline="0">
                <a:latin typeface="Arial" charset="0"/>
              </a:defRPr>
            </a:lvl1pPr>
          </a:lstStyle>
          <a:p>
            <a:pPr>
              <a:defRPr/>
            </a:pPr>
            <a:r>
              <a:rPr lang="de-DE"/>
              <a:t>Name, Vorname - Datum</a:t>
            </a:r>
          </a:p>
        </p:txBody>
      </p:sp>
      <p:sp>
        <p:nvSpPr>
          <p:cNvPr id="1029" name="Rectangle 20">
            <a:extLst>
              <a:ext uri="{FF2B5EF4-FFF2-40B4-BE49-F238E27FC236}">
                <a16:creationId xmlns:a16="http://schemas.microsoft.com/office/drawing/2014/main" id="{871D11C0-14AF-12B7-B942-897912FC55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52000" y="7294563"/>
            <a:ext cx="28575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1008063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/>
            <a:fld id="{C5D803B5-7FC6-3B46-B2DC-DFF1BA9FFF41}" type="slidenum">
              <a:rPr lang="en-US" altLang="zh-CN" sz="1100" b="1" baseline="0">
                <a:latin typeface="Arial" panose="020B0604020202020204" pitchFamily="34" charset="0"/>
              </a:rPr>
              <a:pPr algn="r"/>
              <a:t>‹#›</a:t>
            </a:fld>
            <a:endParaRPr lang="en-US" altLang="zh-CN" sz="1100" b="1" baseline="0">
              <a:latin typeface="Arial" panose="020B0604020202020204" pitchFamily="34" charset="0"/>
            </a:endParaRPr>
          </a:p>
        </p:txBody>
      </p:sp>
      <p:sp>
        <p:nvSpPr>
          <p:cNvPr id="1030" name="Rectangle 31">
            <a:extLst>
              <a:ext uri="{FF2B5EF4-FFF2-40B4-BE49-F238E27FC236}">
                <a16:creationId xmlns:a16="http://schemas.microsoft.com/office/drawing/2014/main" id="{1183C574-7798-5702-9B40-CBF1555EA9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20713"/>
            <a:ext cx="8097838" cy="36512"/>
          </a:xfrm>
          <a:prstGeom prst="rect">
            <a:avLst/>
          </a:prstGeom>
          <a:solidFill>
            <a:srgbClr val="000080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zh-CN" altLang="zh-CN"/>
          </a:p>
        </p:txBody>
      </p:sp>
      <p:sp>
        <p:nvSpPr>
          <p:cNvPr id="1031" name="Rectangle 34">
            <a:extLst>
              <a:ext uri="{FF2B5EF4-FFF2-40B4-BE49-F238E27FC236}">
                <a16:creationId xmlns:a16="http://schemas.microsoft.com/office/drawing/2014/main" id="{F084A484-6D6A-82A0-904F-455ACA6DD0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178675"/>
            <a:ext cx="10077450" cy="36513"/>
          </a:xfrm>
          <a:prstGeom prst="rect">
            <a:avLst/>
          </a:prstGeom>
          <a:solidFill>
            <a:srgbClr val="000080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aseline="-25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zh-CN" altLang="zh-CN"/>
          </a:p>
        </p:txBody>
      </p:sp>
      <p:pic>
        <p:nvPicPr>
          <p:cNvPr id="1032" name="Grafik 9">
            <a:extLst>
              <a:ext uri="{FF2B5EF4-FFF2-40B4-BE49-F238E27FC236}">
                <a16:creationId xmlns:a16="http://schemas.microsoft.com/office/drawing/2014/main" id="{DA84767F-7D55-5359-702F-339D21D43F93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45525" y="80963"/>
            <a:ext cx="1281113" cy="963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sldNum="0" hdr="0" dt="0"/>
  <p:txStyles>
    <p:titleStyle>
      <a:lvl1pPr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+mj-lt"/>
          <a:ea typeface="+mj-ea"/>
          <a:cs typeface="+mj-cs"/>
        </a:defRPr>
      </a:lvl1pPr>
      <a:lvl2pPr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2pPr>
      <a:lvl3pPr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3pPr>
      <a:lvl4pPr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4pPr>
      <a:lvl5pPr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5pPr>
      <a:lvl6pPr marL="457200"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6pPr>
      <a:lvl7pPr marL="914400"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7pPr>
      <a:lvl8pPr marL="1371600"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8pPr>
      <a:lvl9pPr marL="1828800" algn="l" defTabSz="100806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0080"/>
          </a:solidFill>
          <a:latin typeface="Arial" charset="0"/>
        </a:defRPr>
      </a:lvl9pPr>
    </p:titleStyle>
    <p:bodyStyle>
      <a:lvl1pPr marL="342900" indent="-342900" algn="l" defTabSz="100806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268288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Wingdings" pitchFamily="2" charset="2"/>
        <a:buChar char="n"/>
        <a:defRPr sz="2100">
          <a:solidFill>
            <a:schemeClr val="tx1"/>
          </a:solidFill>
          <a:latin typeface="+mn-lt"/>
        </a:defRPr>
      </a:lvl2pPr>
      <a:lvl3pPr marL="892175" indent="-265113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Arial" panose="020B0604020202020204" pitchFamily="34" charset="0"/>
        <a:buChar char="●"/>
        <a:defRPr sz="1900">
          <a:solidFill>
            <a:schemeClr val="tx1"/>
          </a:solidFill>
          <a:latin typeface="+mn-lt"/>
        </a:defRPr>
      </a:lvl3pPr>
      <a:lvl4pPr marL="1250950" indent="-179388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Wingdings" pitchFamily="2" charset="2"/>
        <a:buChar char="§"/>
        <a:defRPr sz="1700">
          <a:solidFill>
            <a:schemeClr val="tx1"/>
          </a:solidFill>
          <a:latin typeface="+mn-lt"/>
        </a:defRPr>
      </a:lvl4pPr>
      <a:lvl5pPr marL="1611313" indent="-180975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Lucida Sans Unicode" panose="020B0602030504020204" pitchFamily="34" charset="0"/>
        <a:buChar char="∙"/>
        <a:defRPr sz="1700">
          <a:solidFill>
            <a:schemeClr val="tx1"/>
          </a:solidFill>
          <a:latin typeface="+mn-lt"/>
        </a:defRPr>
      </a:lvl5pPr>
      <a:lvl6pPr marL="2068513" indent="-180975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Lucida Sans Unicode" pitchFamily="34" charset="0"/>
        <a:buChar char="∙"/>
        <a:defRPr sz="1700">
          <a:solidFill>
            <a:schemeClr val="tx1"/>
          </a:solidFill>
          <a:latin typeface="+mn-lt"/>
        </a:defRPr>
      </a:lvl6pPr>
      <a:lvl7pPr marL="2525713" indent="-180975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Lucida Sans Unicode" pitchFamily="34" charset="0"/>
        <a:buChar char="∙"/>
        <a:defRPr sz="1700">
          <a:solidFill>
            <a:schemeClr val="tx1"/>
          </a:solidFill>
          <a:latin typeface="+mn-lt"/>
        </a:defRPr>
      </a:lvl7pPr>
      <a:lvl8pPr marL="2982913" indent="-180975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Lucida Sans Unicode" pitchFamily="34" charset="0"/>
        <a:buChar char="∙"/>
        <a:defRPr sz="1700">
          <a:solidFill>
            <a:schemeClr val="tx1"/>
          </a:solidFill>
          <a:latin typeface="+mn-lt"/>
        </a:defRPr>
      </a:lvl8pPr>
      <a:lvl9pPr marL="3440113" indent="-180975" algn="l" defTabSz="1008063" rtl="0" eaLnBrk="0" fontAlgn="base" hangingPunct="0">
        <a:spcBef>
          <a:spcPct val="20000"/>
        </a:spcBef>
        <a:spcAft>
          <a:spcPct val="0"/>
        </a:spcAft>
        <a:buClr>
          <a:srgbClr val="000080"/>
        </a:buClr>
        <a:buFont typeface="Lucida Sans Unicode" pitchFamily="34" charset="0"/>
        <a:buChar char="∙"/>
        <a:defRPr sz="17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2A044B8E-3080-CE46-0AD4-5BB16B37B883}"/>
              </a:ext>
            </a:extLst>
          </p:cNvPr>
          <p:cNvSpPr/>
          <p:nvPr/>
        </p:nvSpPr>
        <p:spPr bwMode="auto">
          <a:xfrm>
            <a:off x="-18660" y="16196"/>
            <a:ext cx="10080625" cy="3060700"/>
          </a:xfrm>
          <a:prstGeom prst="rect">
            <a:avLst/>
          </a:prstGeom>
          <a:solidFill>
            <a:srgbClr val="06007F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600" b="0" i="0" u="none" strike="noStrike" cap="none" normalizeH="0" baseline="-2500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74" name="Rectangle 2">
            <a:extLst>
              <a:ext uri="{FF2B5EF4-FFF2-40B4-BE49-F238E27FC236}">
                <a16:creationId xmlns:a16="http://schemas.microsoft.com/office/drawing/2014/main" id="{617E65AD-8DE2-34FF-4AF4-875AB283738A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736991" y="585676"/>
            <a:ext cx="8569325" cy="1149572"/>
          </a:xfrm>
        </p:spPr>
        <p:txBody>
          <a:bodyPr/>
          <a:lstStyle/>
          <a:p>
            <a:r>
              <a:rPr lang="en-US" altLang="zh-CN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UMAN ACTIVITY RECOGNITION </a:t>
            </a:r>
          </a:p>
        </p:txBody>
      </p:sp>
      <p:sp>
        <p:nvSpPr>
          <p:cNvPr id="3075" name="Rectangle 3">
            <a:extLst>
              <a:ext uri="{FF2B5EF4-FFF2-40B4-BE49-F238E27FC236}">
                <a16:creationId xmlns:a16="http://schemas.microsoft.com/office/drawing/2014/main" id="{D83248B9-C4A6-D32A-893F-623DC13B6BF9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3076964" y="1920296"/>
            <a:ext cx="3889375" cy="485775"/>
          </a:xfrm>
        </p:spPr>
        <p:txBody>
          <a:bodyPr/>
          <a:lstStyle/>
          <a:p>
            <a:pPr marL="0" indent="0"/>
            <a:r>
              <a:rPr lang="en-US" altLang="zh-CN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ep</a:t>
            </a:r>
            <a:r>
              <a:rPr lang="zh-CN" alt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arning</a:t>
            </a:r>
            <a:r>
              <a:rPr lang="zh-CN" alt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b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5D6185EC-931B-3D33-69D6-AF3404083F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824" y="3780631"/>
            <a:ext cx="3962400" cy="3060700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BC367469-295F-3AB9-01AD-5C2D4B7A1FDC}"/>
              </a:ext>
            </a:extLst>
          </p:cNvPr>
          <p:cNvSpPr txBox="1"/>
          <p:nvPr/>
        </p:nvSpPr>
        <p:spPr>
          <a:xfrm>
            <a:off x="5575755" y="3646376"/>
            <a:ext cx="3908891" cy="4206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Xiangyuan</a:t>
            </a:r>
            <a:r>
              <a:rPr kumimoji="1" lang="en-US" altLang="zh-CN" sz="3200" dirty="0">
                <a:latin typeface="Calibri" panose="020F0502020204030204" pitchFamily="34" charset="0"/>
                <a:cs typeface="Calibri" panose="020F0502020204030204" pitchFamily="34" charset="0"/>
              </a:rPr>
              <a:t> Meng</a:t>
            </a:r>
            <a:r>
              <a:rPr kumimoji="1" lang="zh-CN" alt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kumimoji="1" lang="de-DE" altLang="zh-CN" sz="3200" dirty="0">
                <a:latin typeface="Calibri" panose="020F0502020204030204" pitchFamily="34" charset="0"/>
                <a:cs typeface="Calibri" panose="020F0502020204030204" pitchFamily="34" charset="0"/>
              </a:rPr>
              <a:t>&amp; </a:t>
            </a:r>
            <a:r>
              <a:rPr kumimoji="1" lang="zh-CN" alt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Wenwu</a:t>
            </a:r>
            <a:r>
              <a:rPr kumimoji="1" lang="en-US" altLang="zh-CN" sz="3200" dirty="0">
                <a:latin typeface="Calibri" panose="020F0502020204030204" pitchFamily="34" charset="0"/>
                <a:cs typeface="Calibri" panose="020F0502020204030204" pitchFamily="34" charset="0"/>
              </a:rPr>
              <a:t> Tang</a:t>
            </a:r>
            <a:endParaRPr kumimoji="1" lang="zh-CN" altLang="en-US"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29BDA55E-5113-1F9C-A961-E0875BF9CA75}"/>
              </a:ext>
            </a:extLst>
          </p:cNvPr>
          <p:cNvSpPr txBox="1"/>
          <p:nvPr/>
        </p:nvSpPr>
        <p:spPr>
          <a:xfrm>
            <a:off x="5588426" y="4537427"/>
            <a:ext cx="3905964" cy="6668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altLang="zh-CN" sz="2800" dirty="0">
                <a:effectLst/>
                <a:latin typeface="NimbusSanL"/>
              </a:rPr>
              <a:t>Institute </a:t>
            </a:r>
            <a:r>
              <a:rPr lang="de-DE" altLang="zh-CN" sz="2800" dirty="0" err="1">
                <a:effectLst/>
                <a:latin typeface="NimbusSanL"/>
              </a:rPr>
              <a:t>of</a:t>
            </a:r>
            <a:r>
              <a:rPr lang="de-DE" altLang="zh-CN" sz="2800" dirty="0">
                <a:effectLst/>
                <a:latin typeface="NimbusSanL"/>
              </a:rPr>
              <a:t> Signal Processing and System Theory</a:t>
            </a:r>
            <a:endParaRPr kumimoji="1" lang="zh-CN" altLang="en-US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9FE5609D-981C-42EE-E8F1-9C396349F081}"/>
              </a:ext>
            </a:extLst>
          </p:cNvPr>
          <p:cNvSpPr txBox="1"/>
          <p:nvPr/>
        </p:nvSpPr>
        <p:spPr>
          <a:xfrm>
            <a:off x="6378173" y="5539331"/>
            <a:ext cx="2326471" cy="3795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altLang="zh-CN" sz="2800" dirty="0">
                <a:effectLst/>
                <a:latin typeface="NimbusSanL"/>
              </a:rPr>
              <a:t>University </a:t>
            </a:r>
            <a:r>
              <a:rPr lang="de-DE" altLang="zh-CN" sz="2800" dirty="0" err="1">
                <a:effectLst/>
                <a:latin typeface="NimbusSanL"/>
              </a:rPr>
              <a:t>of</a:t>
            </a:r>
            <a:r>
              <a:rPr lang="de-DE" altLang="zh-CN" sz="2800" dirty="0">
                <a:effectLst/>
                <a:latin typeface="NimbusSanL"/>
              </a:rPr>
              <a:t> Stuttgart</a:t>
            </a:r>
            <a:endParaRPr kumimoji="1" lang="zh-CN" altLang="en-US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C871A5EC-B841-F481-AF04-14646C33D18B}"/>
              </a:ext>
            </a:extLst>
          </p:cNvPr>
          <p:cNvSpPr txBox="1"/>
          <p:nvPr/>
        </p:nvSpPr>
        <p:spPr>
          <a:xfrm>
            <a:off x="6900848" y="6156895"/>
            <a:ext cx="1281120" cy="3795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dirty="0">
                <a:latin typeface="Calibri" panose="020F0502020204030204" pitchFamily="34" charset="0"/>
                <a:cs typeface="Calibri" panose="020F0502020204030204" pitchFamily="34" charset="0"/>
              </a:rPr>
              <a:t>07.02.2023</a:t>
            </a:r>
            <a:endParaRPr kumimoji="1" lang="zh-CN" alt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598A15B-3758-87F9-4CF4-22A7887CB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de-DE" altLang="zh-CN" dirty="0" err="1"/>
              <a:t>Visualisation</a:t>
            </a:r>
            <a:r>
              <a:rPr kumimoji="1" lang="de-DE" altLang="zh-CN" dirty="0"/>
              <a:t> on exp.02 </a:t>
            </a:r>
            <a:r>
              <a:rPr kumimoji="1" lang="de-DE" altLang="zh-CN" dirty="0" err="1"/>
              <a:t>user</a:t>
            </a:r>
            <a:r>
              <a:rPr kumimoji="1" lang="de-DE" altLang="zh-CN" dirty="0"/>
              <a:t> 01 </a:t>
            </a:r>
            <a:r>
              <a:rPr kumimoji="1" lang="de-DE" altLang="zh-CN" dirty="0" err="1"/>
              <a:t>with</a:t>
            </a:r>
            <a:r>
              <a:rPr kumimoji="1" lang="de-DE" altLang="zh-CN" dirty="0"/>
              <a:t> GRU</a:t>
            </a:r>
            <a:endParaRPr kumimoji="1" lang="zh-CN" altLang="en-US" dirty="0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B88C96F-E276-2B32-B8F5-A18947C48A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52400" y="7295649"/>
            <a:ext cx="3298980" cy="169277"/>
          </a:xfrm>
        </p:spPr>
        <p:txBody>
          <a:bodyPr/>
          <a:lstStyle/>
          <a:p>
            <a:pPr>
              <a:defRPr/>
            </a:pPr>
            <a:r>
              <a:rPr lang="de-DE" dirty="0"/>
              <a:t>Meng, </a:t>
            </a:r>
            <a:r>
              <a:rPr lang="de-DE" dirty="0" err="1"/>
              <a:t>Xiangyuan</a:t>
            </a:r>
            <a:r>
              <a:rPr lang="de-DE" dirty="0"/>
              <a:t> and Tang, Wenwu – 07.02.2023</a:t>
            </a:r>
          </a:p>
        </p:txBody>
      </p:sp>
      <p:pic>
        <p:nvPicPr>
          <p:cNvPr id="5" name="图片 4" descr="图表, 条形图&#10;&#10;描述已自动生成">
            <a:extLst>
              <a:ext uri="{FF2B5EF4-FFF2-40B4-BE49-F238E27FC236}">
                <a16:creationId xmlns:a16="http://schemas.microsoft.com/office/drawing/2014/main" id="{681C9EDE-2929-C620-3015-1805551349F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260" r="7358"/>
          <a:stretch/>
        </p:blipFill>
        <p:spPr>
          <a:xfrm>
            <a:off x="720313" y="988141"/>
            <a:ext cx="8640000" cy="2072410"/>
          </a:xfrm>
          <a:prstGeom prst="rect">
            <a:avLst/>
          </a:prstGeom>
        </p:spPr>
      </p:pic>
      <p:pic>
        <p:nvPicPr>
          <p:cNvPr id="6" name="图片 5" descr="图表, 条形图&#10;&#10;描述已自动生成">
            <a:extLst>
              <a:ext uri="{FF2B5EF4-FFF2-40B4-BE49-F238E27FC236}">
                <a16:creationId xmlns:a16="http://schemas.microsoft.com/office/drawing/2014/main" id="{3599F8BB-991D-44FE-F51F-099C1E529C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260" r="7358"/>
          <a:stretch/>
        </p:blipFill>
        <p:spPr>
          <a:xfrm>
            <a:off x="720313" y="3076373"/>
            <a:ext cx="8640000" cy="2072410"/>
          </a:xfrm>
          <a:prstGeom prst="rect">
            <a:avLst/>
          </a:prstGeom>
        </p:spPr>
      </p:pic>
      <p:pic>
        <p:nvPicPr>
          <p:cNvPr id="7" name="图片 6" descr="图表&#10;&#10;描述已自动生成">
            <a:extLst>
              <a:ext uri="{FF2B5EF4-FFF2-40B4-BE49-F238E27FC236}">
                <a16:creationId xmlns:a16="http://schemas.microsoft.com/office/drawing/2014/main" id="{D95A1916-8AF4-56A2-5DE9-5FE612A6A8E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260" r="7358"/>
          <a:stretch/>
        </p:blipFill>
        <p:spPr>
          <a:xfrm>
            <a:off x="792800" y="5092597"/>
            <a:ext cx="8640000" cy="2072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3315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598A15B-3758-87F9-4CF4-22A7887CB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Confusion</a:t>
            </a:r>
            <a:r>
              <a:rPr kumimoji="1" lang="zh-CN" altLang="en-US" dirty="0"/>
              <a:t> </a:t>
            </a:r>
            <a:r>
              <a:rPr kumimoji="1" lang="en-US" altLang="zh-CN" dirty="0"/>
              <a:t>Matrix</a:t>
            </a:r>
            <a:r>
              <a:rPr kumimoji="1" lang="zh-CN" altLang="en-US" dirty="0"/>
              <a:t> </a:t>
            </a:r>
            <a:r>
              <a:rPr kumimoji="1" lang="en-US" altLang="zh-CN" dirty="0"/>
              <a:t>on</a:t>
            </a:r>
            <a:r>
              <a:rPr kumimoji="1" lang="zh-CN" altLang="en-US" dirty="0"/>
              <a:t> </a:t>
            </a:r>
            <a:r>
              <a:rPr kumimoji="1" lang="en-US" altLang="zh-CN" dirty="0"/>
              <a:t>HAPT</a:t>
            </a:r>
            <a:r>
              <a:rPr kumimoji="1" lang="zh-CN" altLang="en-US" dirty="0"/>
              <a:t> </a:t>
            </a:r>
            <a:r>
              <a:rPr kumimoji="1" lang="en-US" altLang="zh-CN" dirty="0"/>
              <a:t>test</a:t>
            </a:r>
            <a:r>
              <a:rPr kumimoji="1" lang="zh-CN" altLang="en-US" dirty="0"/>
              <a:t> </a:t>
            </a:r>
            <a:r>
              <a:rPr kumimoji="1" lang="en-US" altLang="zh-CN" dirty="0"/>
              <a:t>result</a:t>
            </a:r>
            <a:endParaRPr kumimoji="1" lang="zh-CN" altLang="en-US" dirty="0"/>
          </a:p>
        </p:txBody>
      </p:sp>
      <p:pic>
        <p:nvPicPr>
          <p:cNvPr id="6" name="内容占位符 5" descr="图表&#10;&#10;描述已自动生成">
            <a:extLst>
              <a:ext uri="{FF2B5EF4-FFF2-40B4-BE49-F238E27FC236}">
                <a16:creationId xmlns:a16="http://schemas.microsoft.com/office/drawing/2014/main" id="{D812EAF4-78BA-3021-5B15-611368D7180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90" t="15559" r="22347" b="6395"/>
          <a:stretch/>
        </p:blipFill>
        <p:spPr>
          <a:xfrm>
            <a:off x="72008" y="1476375"/>
            <a:ext cx="4680272" cy="4834054"/>
          </a:xfrm>
        </p:spPr>
      </p:pic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B88C96F-E276-2B32-B8F5-A18947C48A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52400" y="7295649"/>
            <a:ext cx="3298980" cy="169277"/>
          </a:xfrm>
        </p:spPr>
        <p:txBody>
          <a:bodyPr/>
          <a:lstStyle/>
          <a:p>
            <a:pPr>
              <a:defRPr/>
            </a:pPr>
            <a:r>
              <a:rPr lang="de-DE" dirty="0"/>
              <a:t>Meng, </a:t>
            </a:r>
            <a:r>
              <a:rPr lang="de-DE" dirty="0" err="1"/>
              <a:t>Xiangyuan</a:t>
            </a:r>
            <a:r>
              <a:rPr lang="de-DE" dirty="0"/>
              <a:t> and Tang, Wenwu – 07.02.2023</a:t>
            </a:r>
          </a:p>
        </p:txBody>
      </p:sp>
      <p:pic>
        <p:nvPicPr>
          <p:cNvPr id="7" name="内容占位符 5" descr="图表, 瀑布图&#10;&#10;描述已自动生成">
            <a:extLst>
              <a:ext uri="{FF2B5EF4-FFF2-40B4-BE49-F238E27FC236}">
                <a16:creationId xmlns:a16="http://schemas.microsoft.com/office/drawing/2014/main" id="{DB36E7FB-1989-B864-FA05-C8DC30ABE3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608264" y="1098910"/>
            <a:ext cx="5211519" cy="5211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ADF66F04-BB16-EE2E-E2CA-A3E144CD9024}"/>
              </a:ext>
            </a:extLst>
          </p:cNvPr>
          <p:cNvSpPr txBox="1"/>
          <p:nvPr/>
        </p:nvSpPr>
        <p:spPr>
          <a:xfrm>
            <a:off x="6800904" y="1116335"/>
            <a:ext cx="687432" cy="359073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kumimoji="1" lang="de-DE" altLang="zh-CN" b="1" dirty="0">
                <a:latin typeface="Calibri" panose="020F0502020204030204" pitchFamily="34" charset="0"/>
                <a:cs typeface="Calibri" panose="020F0502020204030204" pitchFamily="34" charset="0"/>
              </a:rPr>
              <a:t>LSTM</a:t>
            </a:r>
            <a:endParaRPr kumimoji="1" lang="zh-CN" alt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0F3D31A-E022-4532-EB20-24240EB9DA3A}"/>
              </a:ext>
            </a:extLst>
          </p:cNvPr>
          <p:cNvSpPr txBox="1"/>
          <p:nvPr/>
        </p:nvSpPr>
        <p:spPr>
          <a:xfrm>
            <a:off x="2355442" y="1116335"/>
            <a:ext cx="596638" cy="359073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kumimoji="1" lang="de-DE" altLang="zh-CN" b="1" dirty="0">
                <a:latin typeface="Calibri" panose="020F0502020204030204" pitchFamily="34" charset="0"/>
                <a:cs typeface="Calibri" panose="020F0502020204030204" pitchFamily="34" charset="0"/>
              </a:rPr>
              <a:t>GRU</a:t>
            </a:r>
            <a:endParaRPr kumimoji="1" lang="zh-CN" alt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0760DD99-979D-F3B9-F6AF-393244D05A44}"/>
              </a:ext>
            </a:extLst>
          </p:cNvPr>
          <p:cNvSpPr txBox="1"/>
          <p:nvPr/>
        </p:nvSpPr>
        <p:spPr>
          <a:xfrm>
            <a:off x="961663" y="6303976"/>
            <a:ext cx="3887411" cy="4206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de-DE" altLang="zh-CN" sz="3200" dirty="0">
                <a:latin typeface="Calibri" panose="020F0502020204030204" pitchFamily="34" charset="0"/>
                <a:cs typeface="Calibri" panose="020F0502020204030204" pitchFamily="34" charset="0"/>
              </a:rPr>
              <a:t>95,82% Test Accuracy is achieved 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553BE315-0713-46F0-BE96-49DDE1303146}"/>
              </a:ext>
            </a:extLst>
          </p:cNvPr>
          <p:cNvSpPr txBox="1"/>
          <p:nvPr/>
        </p:nvSpPr>
        <p:spPr>
          <a:xfrm>
            <a:off x="5521925" y="6303976"/>
            <a:ext cx="3887411" cy="4206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de-DE" altLang="zh-CN" sz="3200" dirty="0"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  <a:r>
              <a:rPr kumimoji="1" lang="en-US" altLang="zh-CN" sz="3200" dirty="0"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  <a:r>
              <a:rPr kumimoji="1" lang="de-DE" altLang="zh-CN" sz="3200" dirty="0">
                <a:latin typeface="Calibri" panose="020F0502020204030204" pitchFamily="34" charset="0"/>
                <a:cs typeface="Calibri" panose="020F0502020204030204" pitchFamily="34" charset="0"/>
              </a:rPr>
              <a:t>,</a:t>
            </a:r>
            <a:r>
              <a:rPr kumimoji="1" lang="en-US" altLang="zh-CN" sz="3200" dirty="0">
                <a:latin typeface="Calibri" panose="020F0502020204030204" pitchFamily="34" charset="0"/>
                <a:cs typeface="Calibri" panose="020F0502020204030204" pitchFamily="34" charset="0"/>
              </a:rPr>
              <a:t>40</a:t>
            </a:r>
            <a:r>
              <a:rPr kumimoji="1" lang="de-DE" altLang="zh-CN" sz="3200" dirty="0">
                <a:latin typeface="Calibri" panose="020F0502020204030204" pitchFamily="34" charset="0"/>
                <a:cs typeface="Calibri" panose="020F0502020204030204" pitchFamily="34" charset="0"/>
              </a:rPr>
              <a:t>% Test Accuracy is achieved </a:t>
            </a:r>
          </a:p>
        </p:txBody>
      </p:sp>
    </p:spTree>
    <p:extLst>
      <p:ext uri="{BB962C8B-B14F-4D97-AF65-F5344CB8AC3E}">
        <p14:creationId xmlns:p14="http://schemas.microsoft.com/office/powerpoint/2010/main" val="35862754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D387FF2-E3E0-045B-EB15-66FB1C0E41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52400" y="7295649"/>
            <a:ext cx="3752630" cy="169277"/>
          </a:xfrm>
        </p:spPr>
        <p:txBody>
          <a:bodyPr/>
          <a:lstStyle/>
          <a:p>
            <a:pPr>
              <a:defRPr/>
            </a:pPr>
            <a:r>
              <a:rPr lang="de-DE" dirty="0"/>
              <a:t>Team 08: </a:t>
            </a:r>
            <a:r>
              <a:rPr lang="de-DE" dirty="0" err="1"/>
              <a:t>Xiangyuan</a:t>
            </a:r>
            <a:r>
              <a:rPr lang="de-DE" dirty="0"/>
              <a:t> Meng and Wenwu Tang, 07.02.2023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8D1C690-E698-F1A5-58BB-8C3FB443DB37}"/>
              </a:ext>
            </a:extLst>
          </p:cNvPr>
          <p:cNvSpPr/>
          <p:nvPr/>
        </p:nvSpPr>
        <p:spPr bwMode="auto">
          <a:xfrm>
            <a:off x="0" y="1908423"/>
            <a:ext cx="10080625" cy="4752528"/>
          </a:xfrm>
          <a:prstGeom prst="rect">
            <a:avLst/>
          </a:prstGeom>
          <a:solidFill>
            <a:srgbClr val="010080"/>
          </a:solidFill>
          <a:ln w="25400" cap="flat" cmpd="sng" algn="ctr">
            <a:solidFill>
              <a:srgbClr val="010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600" b="0" i="0" u="none" strike="noStrike" cap="none" normalizeH="0" baseline="-25000" dirty="0">
              <a:ln>
                <a:solidFill>
                  <a:srgbClr val="06007F"/>
                </a:solidFill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3" name="椭圆 2">
            <a:extLst>
              <a:ext uri="{FF2B5EF4-FFF2-40B4-BE49-F238E27FC236}">
                <a16:creationId xmlns:a16="http://schemas.microsoft.com/office/drawing/2014/main" id="{9C2A2408-32BA-401A-87E8-F3B3DC6CBA0E}"/>
              </a:ext>
            </a:extLst>
          </p:cNvPr>
          <p:cNvSpPr/>
          <p:nvPr/>
        </p:nvSpPr>
        <p:spPr bwMode="auto">
          <a:xfrm>
            <a:off x="5328344" y="1764407"/>
            <a:ext cx="3384376" cy="3384000"/>
          </a:xfrm>
          <a:prstGeom prst="ellipse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600" b="0" i="0" u="none" strike="noStrike" cap="none" normalizeH="0" baseline="-25000" dirty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233DAA0A-05E1-0FE8-73B4-94965E9F46B6}"/>
              </a:ext>
            </a:extLst>
          </p:cNvPr>
          <p:cNvSpPr txBox="1"/>
          <p:nvPr/>
        </p:nvSpPr>
        <p:spPr>
          <a:xfrm>
            <a:off x="287784" y="944106"/>
            <a:ext cx="7593938" cy="50270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4000" dirty="0">
                <a:latin typeface="Calibri" panose="020F0502020204030204" pitchFamily="34" charset="0"/>
                <a:cs typeface="Calibri" panose="020F0502020204030204" pitchFamily="34" charset="0"/>
              </a:rPr>
              <a:t>Deep</a:t>
            </a:r>
            <a:r>
              <a:rPr kumimoji="1" lang="zh-CN" altLang="en-US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4000" dirty="0">
                <a:latin typeface="Calibri" panose="020F0502020204030204" pitchFamily="34" charset="0"/>
                <a:cs typeface="Calibri" panose="020F0502020204030204" pitchFamily="34" charset="0"/>
              </a:rPr>
              <a:t>Learning</a:t>
            </a:r>
            <a:r>
              <a:rPr kumimoji="1" lang="zh-CN" altLang="en-US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4000" dirty="0">
                <a:latin typeface="Calibri" panose="020F0502020204030204" pitchFamily="34" charset="0"/>
                <a:cs typeface="Calibri" panose="020F0502020204030204" pitchFamily="34" charset="0"/>
              </a:rPr>
              <a:t>Lab: </a:t>
            </a:r>
            <a:r>
              <a:rPr lang="en-US" altLang="zh-CN" sz="4000" dirty="0">
                <a:latin typeface="Calibri" panose="020F0502020204030204" pitchFamily="34" charset="0"/>
                <a:cs typeface="Calibri" panose="020F0502020204030204" pitchFamily="34" charset="0"/>
              </a:rPr>
              <a:t>HUMAN ACTIVITY RECOGNITION </a:t>
            </a:r>
            <a:r>
              <a:rPr kumimoji="1" lang="en-US" altLang="zh-CN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kumimoji="1" lang="zh-CN" altLang="en-US" sz="4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7D20B203-C341-2A21-E0F9-B0B33AE78826}"/>
              </a:ext>
            </a:extLst>
          </p:cNvPr>
          <p:cNvSpPr txBox="1"/>
          <p:nvPr/>
        </p:nvSpPr>
        <p:spPr>
          <a:xfrm>
            <a:off x="359792" y="3205056"/>
            <a:ext cx="3024335" cy="6442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60000">
              <a:lnSpc>
                <a:spcPct val="150000"/>
              </a:lnSpc>
            </a:pPr>
            <a:r>
              <a:rPr kumimoji="1" lang="de-DE" altLang="zh-CN" sz="4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.	</a:t>
            </a:r>
            <a:r>
              <a:rPr kumimoji="1" lang="de-DE" altLang="zh-CN" sz="4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clusion</a:t>
            </a:r>
            <a:endParaRPr kumimoji="1" lang="de-DE" altLang="zh-CN" sz="4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89892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598A15B-3758-87F9-4CF4-22A7887CB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de-DE" altLang="zh-CN" dirty="0" err="1"/>
              <a:t>Conclusions</a:t>
            </a:r>
            <a:endParaRPr kumimoji="1" lang="zh-CN" altLang="en-US" dirty="0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B88C96F-E276-2B32-B8F5-A18947C48A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52400" y="7295649"/>
            <a:ext cx="3298980" cy="169277"/>
          </a:xfrm>
        </p:spPr>
        <p:txBody>
          <a:bodyPr/>
          <a:lstStyle/>
          <a:p>
            <a:pPr>
              <a:defRPr/>
            </a:pPr>
            <a:r>
              <a:rPr lang="de-DE" dirty="0"/>
              <a:t>Meng, </a:t>
            </a:r>
            <a:r>
              <a:rPr lang="de-DE" dirty="0" err="1"/>
              <a:t>Xiangyuan</a:t>
            </a:r>
            <a:r>
              <a:rPr lang="de-DE" dirty="0"/>
              <a:t> and Tang, Wenwu – 07.02.2023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4E80963D-DA54-D646-7E5B-F69035DD9F5A}"/>
              </a:ext>
            </a:extLst>
          </p:cNvPr>
          <p:cNvSpPr txBox="1"/>
          <p:nvPr/>
        </p:nvSpPr>
        <p:spPr>
          <a:xfrm>
            <a:off x="358775" y="1116335"/>
            <a:ext cx="9417213" cy="33752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60000"/>
            <a:r>
              <a:rPr kumimoji="1" lang="de-DE" altLang="zh-CN" sz="3200" dirty="0">
                <a:latin typeface="Calibri" panose="020F0502020204030204" pitchFamily="34" charset="0"/>
                <a:cs typeface="Calibri" panose="020F0502020204030204" pitchFamily="34" charset="0"/>
              </a:rPr>
              <a:t>Both models have achieved high accuracy,</a:t>
            </a:r>
            <a:r>
              <a:rPr kumimoji="1" lang="en-US" altLang="zh-CN" sz="3200" dirty="0"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kumimoji="1" lang="de-DE" altLang="zh-CN" sz="3200" dirty="0">
                <a:latin typeface="Calibri" panose="020F0502020204030204" pitchFamily="34" charset="0"/>
                <a:cs typeface="Calibri" panose="020F0502020204030204" pitchFamily="34" charset="0"/>
              </a:rPr>
              <a:t>which</a:t>
            </a:r>
            <a:r>
              <a:rPr kumimoji="1" lang="en-US" altLang="zh-CN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de-DE" altLang="zh-CN" sz="3200" dirty="0">
                <a:latin typeface="Calibri" panose="020F0502020204030204" pitchFamily="34" charset="0"/>
                <a:cs typeface="Calibri" panose="020F0502020204030204" pitchFamily="34" charset="0"/>
              </a:rPr>
              <a:t>proves that the RNN networks can be applied for human activity recognition and have good performance.</a:t>
            </a:r>
          </a:p>
          <a:p>
            <a:pPr defTabSz="360000"/>
            <a:endParaRPr kumimoji="1" lang="de-DE" altLang="zh-CN" sz="3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360000"/>
            <a:r>
              <a:rPr kumimoji="1" lang="de-DE" altLang="zh-CN" sz="3200" dirty="0">
                <a:latin typeface="Calibri" panose="020F0502020204030204" pitchFamily="34" charset="0"/>
                <a:cs typeface="Calibri" panose="020F0502020204030204" pitchFamily="34" charset="0"/>
              </a:rPr>
              <a:t>Due to the shorter duration of dynamic activities(some are even shorter than window length), there are less training data for them, which leads to a imbalanced data set. so the accuracy of dynamic activities is much lower than static one.</a:t>
            </a:r>
          </a:p>
          <a:p>
            <a:pPr defTabSz="360000"/>
            <a:endParaRPr kumimoji="1" lang="de-DE" altLang="zh-CN" sz="3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360000"/>
            <a:endParaRPr kumimoji="1" lang="de-DE" altLang="zh-CN" sz="3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360000"/>
            <a:endParaRPr kumimoji="1" lang="de-DE" altLang="zh-CN" sz="3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360000"/>
            <a:endParaRPr kumimoji="1" lang="de-DE" altLang="zh-CN"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3" name="Diagramm 1">
            <a:extLst>
              <a:ext uri="{FF2B5EF4-FFF2-40B4-BE49-F238E27FC236}">
                <a16:creationId xmlns:a16="http://schemas.microsoft.com/office/drawing/2014/main" id="{C0903B93-15CE-A8BE-6C4C-C45589468A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24903396"/>
              </p:ext>
            </p:extLst>
          </p:nvPr>
        </p:nvGraphicFramePr>
        <p:xfrm>
          <a:off x="1115876" y="3636615"/>
          <a:ext cx="7848872" cy="32726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0079589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2A044B8E-3080-CE46-0AD4-5BB16B37B883}"/>
              </a:ext>
            </a:extLst>
          </p:cNvPr>
          <p:cNvSpPr/>
          <p:nvPr/>
        </p:nvSpPr>
        <p:spPr bwMode="auto">
          <a:xfrm>
            <a:off x="-18660" y="16196"/>
            <a:ext cx="10080625" cy="3060700"/>
          </a:xfrm>
          <a:prstGeom prst="rect">
            <a:avLst/>
          </a:prstGeom>
          <a:solidFill>
            <a:srgbClr val="06007F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600" b="0" i="0" u="none" strike="noStrike" cap="none" normalizeH="0" baseline="-2500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5D6185EC-931B-3D33-69D6-AF3404083F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824" y="3636615"/>
            <a:ext cx="3962400" cy="3060700"/>
          </a:xfrm>
          <a:prstGeom prst="rect">
            <a:avLst/>
          </a:prstGeom>
        </p:spPr>
      </p:pic>
      <p:sp>
        <p:nvSpPr>
          <p:cNvPr id="10" name="内容占位符 2">
            <a:extLst>
              <a:ext uri="{FF2B5EF4-FFF2-40B4-BE49-F238E27FC236}">
                <a16:creationId xmlns:a16="http://schemas.microsoft.com/office/drawing/2014/main" id="{85F74A4F-2AC3-1558-8F3F-7165D3D4818A}"/>
              </a:ext>
            </a:extLst>
          </p:cNvPr>
          <p:cNvSpPr txBox="1">
            <a:spLocks/>
          </p:cNvSpPr>
          <p:nvPr/>
        </p:nvSpPr>
        <p:spPr bwMode="auto">
          <a:xfrm>
            <a:off x="791840" y="1280220"/>
            <a:ext cx="6480149" cy="532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778" tIns="50390" rIns="100778" bIns="5039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ctr" defTabSz="1008063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500">
                <a:solidFill>
                  <a:srgbClr val="000080"/>
                </a:solidFill>
                <a:latin typeface="+mn-lt"/>
                <a:ea typeface="+mn-ea"/>
                <a:cs typeface="+mn-cs"/>
              </a:defRPr>
            </a:lvl1pPr>
            <a:lvl2pPr marL="447675" indent="-2682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itchFamily="2" charset="2"/>
              <a:buChar char="n"/>
              <a:defRPr sz="2100">
                <a:solidFill>
                  <a:schemeClr val="tx1"/>
                </a:solidFill>
                <a:latin typeface="+mn-lt"/>
              </a:defRPr>
            </a:lvl2pPr>
            <a:lvl3pPr marL="892175" indent="-2651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Arial" panose="020B0604020202020204" pitchFamily="34" charset="0"/>
              <a:buChar char="●"/>
              <a:defRPr sz="1900">
                <a:solidFill>
                  <a:schemeClr val="tx1"/>
                </a:solidFill>
                <a:latin typeface="+mn-lt"/>
              </a:defRPr>
            </a:lvl3pPr>
            <a:lvl4pPr marL="1250950" indent="-179388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Wingdings" pitchFamily="2" charset="2"/>
              <a:buChar char="§"/>
              <a:defRPr sz="1700">
                <a:solidFill>
                  <a:schemeClr val="tx1"/>
                </a:solidFill>
                <a:latin typeface="+mn-lt"/>
              </a:defRPr>
            </a:lvl4pPr>
            <a:lvl5pPr marL="16113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anose="020B0602030504020204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5pPr>
            <a:lvl6pPr marL="20685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6pPr>
            <a:lvl7pPr marL="25257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7pPr>
            <a:lvl8pPr marL="29829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8pPr>
            <a:lvl9pPr marL="3440113" indent="-18097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80"/>
              </a:buClr>
              <a:buFont typeface="Lucida Sans Unicode" pitchFamily="34" charset="0"/>
              <a:buChar char="∙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kumimoji="1" lang="en-US" altLang="zh-CN" sz="2800" kern="0" baseline="0">
                <a:solidFill>
                  <a:schemeClr val="bg1"/>
                </a:solidFill>
              </a:rPr>
              <a:t>Thanks</a:t>
            </a:r>
            <a:r>
              <a:rPr kumimoji="1" lang="zh-CN" altLang="en-US" sz="2800" kern="0" baseline="0">
                <a:solidFill>
                  <a:schemeClr val="bg1"/>
                </a:solidFill>
              </a:rPr>
              <a:t> </a:t>
            </a:r>
            <a:r>
              <a:rPr kumimoji="1" lang="en-US" altLang="zh-CN" sz="2800" kern="0" baseline="0">
                <a:solidFill>
                  <a:schemeClr val="bg1"/>
                </a:solidFill>
              </a:rPr>
              <a:t>for</a:t>
            </a:r>
            <a:r>
              <a:rPr kumimoji="1" lang="zh-CN" altLang="en-US" sz="2800" kern="0" baseline="0">
                <a:solidFill>
                  <a:schemeClr val="bg1"/>
                </a:solidFill>
              </a:rPr>
              <a:t> </a:t>
            </a:r>
            <a:r>
              <a:rPr kumimoji="1" lang="en-US" altLang="zh-CN" sz="2800" kern="0" baseline="0">
                <a:solidFill>
                  <a:schemeClr val="bg1"/>
                </a:solidFill>
              </a:rPr>
              <a:t>your</a:t>
            </a:r>
            <a:r>
              <a:rPr kumimoji="1" lang="zh-CN" altLang="en-US" sz="2800" kern="0" baseline="0">
                <a:solidFill>
                  <a:schemeClr val="bg1"/>
                </a:solidFill>
              </a:rPr>
              <a:t> </a:t>
            </a:r>
            <a:r>
              <a:rPr kumimoji="1" lang="en-US" altLang="zh-CN" sz="2800" kern="0" baseline="0">
                <a:solidFill>
                  <a:schemeClr val="bg1"/>
                </a:solidFill>
              </a:rPr>
              <a:t>Attention</a:t>
            </a:r>
            <a:r>
              <a:rPr kumimoji="1" lang="zh-CN" altLang="en-US" sz="2800" kern="0" baseline="0">
                <a:solidFill>
                  <a:schemeClr val="bg1"/>
                </a:solidFill>
              </a:rPr>
              <a:t>！</a:t>
            </a:r>
            <a:endParaRPr kumimoji="1" lang="zh-CN" altLang="en-US" sz="2800" kern="0" baseline="0" dirty="0">
              <a:solidFill>
                <a:schemeClr val="bg1"/>
              </a:solidFill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D37665CD-DDAB-BB10-C659-9A7C36EF1C67}"/>
              </a:ext>
            </a:extLst>
          </p:cNvPr>
          <p:cNvSpPr txBox="1"/>
          <p:nvPr/>
        </p:nvSpPr>
        <p:spPr>
          <a:xfrm>
            <a:off x="5184328" y="3420591"/>
            <a:ext cx="4195700" cy="32710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2520"/>
              </a:lnSpc>
            </a:pPr>
            <a:r>
              <a:rPr kumimoji="1" lang="de-DE" altLang="zh-CN" dirty="0" err="1">
                <a:latin typeface="Calibri" panose="020F0502020204030204" pitchFamily="34" charset="0"/>
                <a:cs typeface="Calibri" panose="020F0502020204030204" pitchFamily="34" charset="0"/>
              </a:rPr>
              <a:t>Xiangyuan</a:t>
            </a:r>
            <a:r>
              <a:rPr kumimoji="1" lang="de-DE" altLang="zh-CN" dirty="0">
                <a:latin typeface="Calibri" panose="020F0502020204030204" pitchFamily="34" charset="0"/>
                <a:cs typeface="Calibri" panose="020F0502020204030204" pitchFamily="34" charset="0"/>
              </a:rPr>
              <a:t> Meng </a:t>
            </a:r>
          </a:p>
          <a:p>
            <a:pPr>
              <a:lnSpc>
                <a:spcPts val="2520"/>
              </a:lnSpc>
            </a:pPr>
            <a:r>
              <a:rPr kumimoji="1" lang="de-DE" altLang="zh-CN" dirty="0">
                <a:latin typeface="Calibri" panose="020F0502020204030204" pitchFamily="34" charset="0"/>
                <a:cs typeface="Calibri" panose="020F0502020204030204" pitchFamily="34" charset="0"/>
              </a:rPr>
              <a:t>Email</a:t>
            </a:r>
            <a:r>
              <a:rPr kumimoji="1" lang="en-US" altLang="zh-CN" dirty="0">
                <a:latin typeface="Calibri" panose="020F0502020204030204" pitchFamily="34" charset="0"/>
                <a:cs typeface="Calibri" panose="020F0502020204030204" pitchFamily="34" charset="0"/>
              </a:rPr>
              <a:t>:	st176701@stud.uni-stuttgart.de</a:t>
            </a:r>
          </a:p>
          <a:p>
            <a:pPr>
              <a:lnSpc>
                <a:spcPts val="2520"/>
              </a:lnSpc>
            </a:pPr>
            <a:r>
              <a:rPr kumimoji="1" lang="en-US" altLang="zh-CN" dirty="0">
                <a:latin typeface="Calibri" panose="020F0502020204030204" pitchFamily="34" charset="0"/>
                <a:cs typeface="Calibri" panose="020F0502020204030204" pitchFamily="34" charset="0"/>
              </a:rPr>
              <a:t>Tel.:	+49 (0)17645677140</a:t>
            </a:r>
          </a:p>
          <a:p>
            <a:pPr>
              <a:lnSpc>
                <a:spcPts val="2520"/>
              </a:lnSpc>
            </a:pPr>
            <a:endParaRPr kumimoji="1" lang="en-US" altLang="zh-CN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ts val="2520"/>
              </a:lnSpc>
            </a:pPr>
            <a:r>
              <a:rPr kumimoji="1" lang="en-US" altLang="zh-CN" dirty="0" err="1">
                <a:latin typeface="Calibri" panose="020F0502020204030204" pitchFamily="34" charset="0"/>
                <a:cs typeface="Calibri" panose="020F0502020204030204" pitchFamily="34" charset="0"/>
              </a:rPr>
              <a:t>Wenwu</a:t>
            </a:r>
            <a:r>
              <a:rPr kumimoji="1" lang="en-US" altLang="zh-CN" dirty="0">
                <a:latin typeface="Calibri" panose="020F0502020204030204" pitchFamily="34" charset="0"/>
                <a:cs typeface="Calibri" panose="020F0502020204030204" pitchFamily="34" charset="0"/>
              </a:rPr>
              <a:t> Tang</a:t>
            </a:r>
          </a:p>
          <a:p>
            <a:pPr>
              <a:lnSpc>
                <a:spcPts val="2520"/>
              </a:lnSpc>
            </a:pPr>
            <a:r>
              <a:rPr kumimoji="1" lang="en-US" altLang="zh-CN" dirty="0">
                <a:latin typeface="Calibri" panose="020F0502020204030204" pitchFamily="34" charset="0"/>
                <a:cs typeface="Calibri" panose="020F0502020204030204" pitchFamily="34" charset="0"/>
              </a:rPr>
              <a:t>Email:	st180408@stud.uni-stuttgart.de</a:t>
            </a:r>
          </a:p>
          <a:p>
            <a:pPr>
              <a:lnSpc>
                <a:spcPts val="2520"/>
              </a:lnSpc>
            </a:pPr>
            <a:r>
              <a:rPr kumimoji="1" lang="en-US" altLang="zh-CN" dirty="0">
                <a:latin typeface="Calibri" panose="020F0502020204030204" pitchFamily="34" charset="0"/>
                <a:cs typeface="Calibri" panose="020F0502020204030204" pitchFamily="34" charset="0"/>
              </a:rPr>
              <a:t>Tel.:	+49 (0)15259552580</a:t>
            </a:r>
          </a:p>
          <a:p>
            <a:pPr>
              <a:lnSpc>
                <a:spcPts val="2520"/>
              </a:lnSpc>
            </a:pPr>
            <a:endParaRPr kumimoji="1" lang="en-US" altLang="zh-CN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ts val="2520"/>
              </a:lnSpc>
            </a:pPr>
            <a:r>
              <a:rPr lang="de-DE" altLang="zh-CN" sz="2400" dirty="0">
                <a:effectLst/>
                <a:latin typeface="NimbusSanL"/>
              </a:rPr>
              <a:t>Institute </a:t>
            </a:r>
            <a:r>
              <a:rPr lang="de-DE" altLang="zh-CN" sz="2400" dirty="0" err="1">
                <a:effectLst/>
                <a:latin typeface="NimbusSanL"/>
              </a:rPr>
              <a:t>of</a:t>
            </a:r>
            <a:r>
              <a:rPr lang="de-DE" altLang="zh-CN" sz="2400" dirty="0">
                <a:effectLst/>
                <a:latin typeface="NimbusSanL"/>
              </a:rPr>
              <a:t> Signal Processing and System Theory</a:t>
            </a:r>
            <a:endParaRPr kumimoji="1" lang="zh-CN" altLang="en-US" dirty="0"/>
          </a:p>
          <a:p>
            <a:pPr>
              <a:lnSpc>
                <a:spcPts val="2520"/>
              </a:lnSpc>
            </a:pPr>
            <a:r>
              <a:rPr lang="de-DE" altLang="zh-CN" sz="2400" dirty="0">
                <a:effectLst/>
                <a:latin typeface="NimbusSanL"/>
              </a:rPr>
              <a:t>University </a:t>
            </a:r>
            <a:r>
              <a:rPr lang="de-DE" altLang="zh-CN" sz="2400" dirty="0" err="1">
                <a:effectLst/>
                <a:latin typeface="NimbusSanL"/>
              </a:rPr>
              <a:t>of</a:t>
            </a:r>
            <a:r>
              <a:rPr lang="de-DE" altLang="zh-CN" sz="2400" dirty="0">
                <a:effectLst/>
                <a:latin typeface="NimbusSanL"/>
              </a:rPr>
              <a:t> Stuttgart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466404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D387FF2-E3E0-045B-EB15-66FB1C0E41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52400" y="7295649"/>
            <a:ext cx="3752630" cy="169277"/>
          </a:xfrm>
        </p:spPr>
        <p:txBody>
          <a:bodyPr/>
          <a:lstStyle/>
          <a:p>
            <a:pPr>
              <a:defRPr/>
            </a:pPr>
            <a:r>
              <a:rPr lang="de-DE" dirty="0"/>
              <a:t>Team 08: </a:t>
            </a:r>
            <a:r>
              <a:rPr lang="de-DE" dirty="0" err="1"/>
              <a:t>Xiangyuan</a:t>
            </a:r>
            <a:r>
              <a:rPr lang="de-DE" dirty="0"/>
              <a:t> Meng and Wenwu Tang, 07.02.2023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8D1C690-E698-F1A5-58BB-8C3FB443DB37}"/>
              </a:ext>
            </a:extLst>
          </p:cNvPr>
          <p:cNvSpPr/>
          <p:nvPr/>
        </p:nvSpPr>
        <p:spPr bwMode="auto">
          <a:xfrm>
            <a:off x="0" y="1908423"/>
            <a:ext cx="10080625" cy="4752528"/>
          </a:xfrm>
          <a:prstGeom prst="rect">
            <a:avLst/>
          </a:prstGeom>
          <a:solidFill>
            <a:srgbClr val="010080"/>
          </a:solidFill>
          <a:ln w="25400" cap="flat" cmpd="sng" algn="ctr">
            <a:solidFill>
              <a:srgbClr val="010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600" b="0" i="0" u="none" strike="noStrike" cap="none" normalizeH="0" baseline="-25000" dirty="0">
              <a:ln>
                <a:solidFill>
                  <a:srgbClr val="06007F"/>
                </a:solidFill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233DAA0A-05E1-0FE8-73B4-94965E9F46B6}"/>
              </a:ext>
            </a:extLst>
          </p:cNvPr>
          <p:cNvSpPr txBox="1"/>
          <p:nvPr/>
        </p:nvSpPr>
        <p:spPr>
          <a:xfrm>
            <a:off x="287784" y="944106"/>
            <a:ext cx="7593938" cy="50270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4000" dirty="0">
                <a:latin typeface="Calibri" panose="020F0502020204030204" pitchFamily="34" charset="0"/>
                <a:cs typeface="Calibri" panose="020F0502020204030204" pitchFamily="34" charset="0"/>
              </a:rPr>
              <a:t>Deep</a:t>
            </a:r>
            <a:r>
              <a:rPr kumimoji="1" lang="zh-CN" altLang="en-US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4000" dirty="0">
                <a:latin typeface="Calibri" panose="020F0502020204030204" pitchFamily="34" charset="0"/>
                <a:cs typeface="Calibri" panose="020F0502020204030204" pitchFamily="34" charset="0"/>
              </a:rPr>
              <a:t>Learning</a:t>
            </a:r>
            <a:r>
              <a:rPr kumimoji="1" lang="zh-CN" altLang="en-US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4000" dirty="0">
                <a:latin typeface="Calibri" panose="020F0502020204030204" pitchFamily="34" charset="0"/>
                <a:cs typeface="Calibri" panose="020F0502020204030204" pitchFamily="34" charset="0"/>
              </a:rPr>
              <a:t>Lab: </a:t>
            </a:r>
            <a:r>
              <a:rPr lang="en-US" altLang="zh-CN" sz="4000" dirty="0">
                <a:latin typeface="Calibri" panose="020F0502020204030204" pitchFamily="34" charset="0"/>
                <a:cs typeface="Calibri" panose="020F0502020204030204" pitchFamily="34" charset="0"/>
              </a:rPr>
              <a:t>HUMAN ACTIVITY RECOGNITION </a:t>
            </a:r>
            <a:r>
              <a:rPr kumimoji="1" lang="en-US" altLang="zh-CN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kumimoji="1" lang="zh-CN" altLang="en-US" sz="4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2DE714BC-2537-D6F2-4CE6-2AC91C28403F}"/>
              </a:ext>
            </a:extLst>
          </p:cNvPr>
          <p:cNvSpPr txBox="1"/>
          <p:nvPr/>
        </p:nvSpPr>
        <p:spPr>
          <a:xfrm>
            <a:off x="314813" y="1829628"/>
            <a:ext cx="5472608" cy="4787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60000">
              <a:lnSpc>
                <a:spcPct val="150000"/>
              </a:lnSpc>
            </a:pPr>
            <a:r>
              <a:rPr lang="de-DE" altLang="zh-CN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ents</a:t>
            </a:r>
          </a:p>
          <a:p>
            <a:pPr defTabSz="360000">
              <a:lnSpc>
                <a:spcPct val="150000"/>
              </a:lnSpc>
            </a:pPr>
            <a:endParaRPr lang="de-DE" altLang="zh-CN" sz="28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360000">
              <a:lnSpc>
                <a:spcPct val="150000"/>
              </a:lnSpc>
            </a:pPr>
            <a:r>
              <a:rPr kumimoji="1" lang="de-DE" altLang="zh-CN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	1.	Methods</a:t>
            </a:r>
          </a:p>
          <a:p>
            <a:pPr defTabSz="360000">
              <a:lnSpc>
                <a:spcPct val="150000"/>
              </a:lnSpc>
            </a:pPr>
            <a:r>
              <a:rPr kumimoji="1" lang="de-DE" altLang="zh-CN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		1.1 </a:t>
            </a:r>
            <a:r>
              <a:rPr kumimoji="1" lang="de-DE" altLang="zh-CN" sz="28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tistics</a:t>
            </a:r>
            <a:r>
              <a:rPr kumimoji="1" lang="de-DE" altLang="zh-CN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de-DE" altLang="zh-CN" sz="28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kumimoji="1" lang="de-DE" altLang="zh-CN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de-DE" altLang="zh-CN" sz="28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</a:t>
            </a:r>
            <a:r>
              <a:rPr kumimoji="1" lang="de-DE" altLang="zh-CN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de-DE" altLang="zh-CN" sz="28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rom</a:t>
            </a:r>
            <a:r>
              <a:rPr kumimoji="1" lang="de-DE" altLang="zh-CN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HAPT </a:t>
            </a:r>
            <a:r>
              <a:rPr kumimoji="1" lang="de-DE" altLang="zh-CN" sz="28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set</a:t>
            </a:r>
            <a:endParaRPr kumimoji="1" lang="de-DE" altLang="zh-CN" sz="28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360000">
              <a:lnSpc>
                <a:spcPct val="150000"/>
              </a:lnSpc>
            </a:pPr>
            <a:r>
              <a:rPr kumimoji="1" lang="de-DE" altLang="zh-CN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		1.2 Model Architecture</a:t>
            </a:r>
          </a:p>
          <a:p>
            <a:pPr defTabSz="360000">
              <a:lnSpc>
                <a:spcPct val="150000"/>
              </a:lnSpc>
            </a:pPr>
            <a:r>
              <a:rPr kumimoji="1" lang="de-DE" altLang="zh-CN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	2.	Training </a:t>
            </a:r>
            <a:r>
              <a:rPr kumimoji="1" lang="de-DE" altLang="zh-CN" sz="28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cess</a:t>
            </a:r>
            <a:endParaRPr kumimoji="1" lang="de-DE" altLang="zh-CN" sz="28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360000">
              <a:lnSpc>
                <a:spcPct val="150000"/>
              </a:lnSpc>
            </a:pPr>
            <a:r>
              <a:rPr kumimoji="1" lang="de-DE" altLang="zh-CN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	3.	</a:t>
            </a:r>
            <a:r>
              <a:rPr kumimoji="1" lang="de-DE" altLang="zh-CN" sz="28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inning</a:t>
            </a:r>
            <a:r>
              <a:rPr kumimoji="1" lang="de-DE" altLang="zh-CN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de-DE" altLang="zh-CN" sz="28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ult</a:t>
            </a:r>
            <a:endParaRPr kumimoji="1" lang="de-DE" altLang="zh-CN" sz="28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360000">
              <a:lnSpc>
                <a:spcPct val="150000"/>
              </a:lnSpc>
            </a:pPr>
            <a:r>
              <a:rPr kumimoji="1" lang="de-DE" altLang="zh-CN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		3.1 </a:t>
            </a:r>
            <a:r>
              <a:rPr kumimoji="1" lang="de-DE" altLang="zh-CN" sz="28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sualisation</a:t>
            </a:r>
            <a:r>
              <a:rPr kumimoji="1" lang="de-DE" altLang="zh-CN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n exp.02 </a:t>
            </a:r>
            <a:r>
              <a:rPr kumimoji="1" lang="de-DE" altLang="zh-CN" sz="28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er</a:t>
            </a:r>
            <a:r>
              <a:rPr kumimoji="1" lang="de-DE" altLang="zh-CN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01 </a:t>
            </a:r>
            <a:r>
              <a:rPr kumimoji="1" lang="de-DE" altLang="zh-CN" sz="28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th</a:t>
            </a:r>
            <a:r>
              <a:rPr kumimoji="1" lang="de-DE" altLang="zh-CN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GRU</a:t>
            </a:r>
          </a:p>
          <a:p>
            <a:pPr defTabSz="360000">
              <a:lnSpc>
                <a:spcPct val="150000"/>
              </a:lnSpc>
            </a:pPr>
            <a:r>
              <a:rPr kumimoji="1" lang="de-DE" altLang="zh-CN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		3.2 </a:t>
            </a:r>
            <a:r>
              <a:rPr kumimoji="1" lang="de-DE" altLang="zh-CN" sz="28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usion</a:t>
            </a:r>
            <a:r>
              <a:rPr kumimoji="1" lang="de-DE" altLang="zh-CN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atrix on HAPT </a:t>
            </a:r>
            <a:r>
              <a:rPr kumimoji="1" lang="de-DE" altLang="zh-CN" sz="28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</a:t>
            </a:r>
            <a:r>
              <a:rPr kumimoji="1" lang="de-DE" altLang="zh-CN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de-DE" altLang="zh-CN" sz="28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ult</a:t>
            </a:r>
            <a:endParaRPr kumimoji="1" lang="de-DE" altLang="zh-CN" sz="28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360000">
              <a:lnSpc>
                <a:spcPct val="150000"/>
              </a:lnSpc>
            </a:pPr>
            <a:r>
              <a:rPr kumimoji="1" lang="de-DE" altLang="zh-CN" sz="2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	4.	</a:t>
            </a:r>
            <a:r>
              <a:rPr kumimoji="1" lang="de-DE" altLang="zh-CN" sz="28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clusion</a:t>
            </a:r>
            <a:endParaRPr kumimoji="1" lang="de-DE" altLang="zh-CN" sz="28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360000">
              <a:lnSpc>
                <a:spcPct val="150000"/>
              </a:lnSpc>
            </a:pPr>
            <a:endParaRPr kumimoji="1" lang="zh-CN" altLang="en-US" sz="28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44713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D387FF2-E3E0-045B-EB15-66FB1C0E41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52400" y="7295649"/>
            <a:ext cx="3752630" cy="169277"/>
          </a:xfrm>
        </p:spPr>
        <p:txBody>
          <a:bodyPr/>
          <a:lstStyle/>
          <a:p>
            <a:pPr>
              <a:defRPr/>
            </a:pPr>
            <a:r>
              <a:rPr lang="de-DE" dirty="0"/>
              <a:t>Team 08: </a:t>
            </a:r>
            <a:r>
              <a:rPr lang="de-DE" dirty="0" err="1"/>
              <a:t>Xiangyuan</a:t>
            </a:r>
            <a:r>
              <a:rPr lang="de-DE" dirty="0"/>
              <a:t> Meng and Wenwu Tang, 07.02.2023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8D1C690-E698-F1A5-58BB-8C3FB443DB37}"/>
              </a:ext>
            </a:extLst>
          </p:cNvPr>
          <p:cNvSpPr/>
          <p:nvPr/>
        </p:nvSpPr>
        <p:spPr bwMode="auto">
          <a:xfrm>
            <a:off x="0" y="1908423"/>
            <a:ext cx="10080625" cy="4752528"/>
          </a:xfrm>
          <a:prstGeom prst="rect">
            <a:avLst/>
          </a:prstGeom>
          <a:solidFill>
            <a:srgbClr val="010080"/>
          </a:solidFill>
          <a:ln w="25400" cap="flat" cmpd="sng" algn="ctr">
            <a:solidFill>
              <a:srgbClr val="010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600" b="0" i="0" u="none" strike="noStrike" cap="none" normalizeH="0" baseline="-25000" dirty="0">
              <a:ln>
                <a:solidFill>
                  <a:srgbClr val="06007F"/>
                </a:solidFill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3" name="椭圆 2">
            <a:extLst>
              <a:ext uri="{FF2B5EF4-FFF2-40B4-BE49-F238E27FC236}">
                <a16:creationId xmlns:a16="http://schemas.microsoft.com/office/drawing/2014/main" id="{9C2A2408-32BA-401A-87E8-F3B3DC6CBA0E}"/>
              </a:ext>
            </a:extLst>
          </p:cNvPr>
          <p:cNvSpPr/>
          <p:nvPr/>
        </p:nvSpPr>
        <p:spPr bwMode="auto">
          <a:xfrm>
            <a:off x="5328344" y="1764407"/>
            <a:ext cx="3384376" cy="3384000"/>
          </a:xfrm>
          <a:prstGeom prst="ellipse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600" b="0" i="0" u="none" strike="noStrike" cap="none" normalizeH="0" baseline="-25000" dirty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233DAA0A-05E1-0FE8-73B4-94965E9F46B6}"/>
              </a:ext>
            </a:extLst>
          </p:cNvPr>
          <p:cNvSpPr txBox="1"/>
          <p:nvPr/>
        </p:nvSpPr>
        <p:spPr>
          <a:xfrm>
            <a:off x="287784" y="944106"/>
            <a:ext cx="7593938" cy="50270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4000" dirty="0">
                <a:latin typeface="Calibri" panose="020F0502020204030204" pitchFamily="34" charset="0"/>
                <a:cs typeface="Calibri" panose="020F0502020204030204" pitchFamily="34" charset="0"/>
              </a:rPr>
              <a:t>Deep</a:t>
            </a:r>
            <a:r>
              <a:rPr kumimoji="1" lang="zh-CN" altLang="en-US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4000" dirty="0">
                <a:latin typeface="Calibri" panose="020F0502020204030204" pitchFamily="34" charset="0"/>
                <a:cs typeface="Calibri" panose="020F0502020204030204" pitchFamily="34" charset="0"/>
              </a:rPr>
              <a:t>Learning</a:t>
            </a:r>
            <a:r>
              <a:rPr kumimoji="1" lang="zh-CN" altLang="en-US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4000" dirty="0">
                <a:latin typeface="Calibri" panose="020F0502020204030204" pitchFamily="34" charset="0"/>
                <a:cs typeface="Calibri" panose="020F0502020204030204" pitchFamily="34" charset="0"/>
              </a:rPr>
              <a:t>Lab: </a:t>
            </a:r>
            <a:r>
              <a:rPr lang="en-US" altLang="zh-CN" sz="4000" dirty="0">
                <a:latin typeface="Calibri" panose="020F0502020204030204" pitchFamily="34" charset="0"/>
                <a:cs typeface="Calibri" panose="020F0502020204030204" pitchFamily="34" charset="0"/>
              </a:rPr>
              <a:t>HUMAN ACTIVITY RECOGNITION </a:t>
            </a:r>
            <a:r>
              <a:rPr kumimoji="1" lang="en-US" altLang="zh-CN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kumimoji="1" lang="zh-CN" altLang="en-US" sz="4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7D20B203-C341-2A21-E0F9-B0B33AE78826}"/>
              </a:ext>
            </a:extLst>
          </p:cNvPr>
          <p:cNvSpPr txBox="1"/>
          <p:nvPr/>
        </p:nvSpPr>
        <p:spPr>
          <a:xfrm>
            <a:off x="359793" y="3205056"/>
            <a:ext cx="2016224" cy="5027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de-DE" altLang="zh-CN" sz="4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  Methods</a:t>
            </a:r>
            <a:endParaRPr kumimoji="1" lang="zh-CN" altLang="en-US" sz="4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61731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BD08537-5723-88A4-32FB-98AE681EDE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Statistics</a:t>
            </a:r>
            <a:r>
              <a:rPr kumimoji="1" lang="zh-CN" altLang="en-US" dirty="0"/>
              <a:t> </a:t>
            </a:r>
            <a:r>
              <a:rPr kumimoji="1" lang="en-US" altLang="zh-CN" dirty="0"/>
              <a:t>of</a:t>
            </a:r>
            <a:r>
              <a:rPr kumimoji="1" lang="zh-CN" altLang="en-US" dirty="0"/>
              <a:t> </a:t>
            </a:r>
            <a:r>
              <a:rPr kumimoji="1" lang="en-US" altLang="zh-CN" dirty="0"/>
              <a:t>data</a:t>
            </a:r>
            <a:r>
              <a:rPr kumimoji="1" lang="zh-CN" altLang="en-US" dirty="0"/>
              <a:t> </a:t>
            </a:r>
            <a:r>
              <a:rPr kumimoji="1" lang="en-US" altLang="zh-CN" dirty="0"/>
              <a:t>from</a:t>
            </a:r>
            <a:r>
              <a:rPr kumimoji="1" lang="zh-CN" altLang="en-US" dirty="0"/>
              <a:t> </a:t>
            </a:r>
            <a:r>
              <a:rPr kumimoji="1" lang="en-US" altLang="zh-CN" dirty="0"/>
              <a:t>HAPT</a:t>
            </a:r>
            <a:r>
              <a:rPr kumimoji="1" lang="zh-CN" altLang="en-US" dirty="0"/>
              <a:t> </a:t>
            </a:r>
            <a:r>
              <a:rPr kumimoji="1" lang="en-US" altLang="zh-CN" dirty="0"/>
              <a:t>dataset</a:t>
            </a:r>
            <a:endParaRPr kumimoji="1" lang="zh-CN" altLang="en-US" dirty="0"/>
          </a:p>
        </p:txBody>
      </p:sp>
      <p:pic>
        <p:nvPicPr>
          <p:cNvPr id="6" name="内容占位符 5" descr="图表, 条形图&#10;&#10;描述已自动生成">
            <a:extLst>
              <a:ext uri="{FF2B5EF4-FFF2-40B4-BE49-F238E27FC236}">
                <a16:creationId xmlns:a16="http://schemas.microsoft.com/office/drawing/2014/main" id="{840EC948-894F-B559-03F7-27746554026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6116" y="1626195"/>
            <a:ext cx="4508500" cy="2730500"/>
          </a:xfrm>
        </p:spPr>
      </p:pic>
      <p:pic>
        <p:nvPicPr>
          <p:cNvPr id="8" name="图片 7" descr="图表, 条形图, 直方图&#10;&#10;描述已自动生成">
            <a:extLst>
              <a:ext uri="{FF2B5EF4-FFF2-40B4-BE49-F238E27FC236}">
                <a16:creationId xmlns:a16="http://schemas.microsoft.com/office/drawing/2014/main" id="{3999AE0B-F62E-4C22-02F9-A1469C18CF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5776" y="1575395"/>
            <a:ext cx="5092700" cy="2781300"/>
          </a:xfrm>
          <a:prstGeom prst="rect">
            <a:avLst/>
          </a:prstGeom>
        </p:spPr>
      </p:pic>
      <p:sp>
        <p:nvSpPr>
          <p:cNvPr id="7" name="页脚占位符 3">
            <a:extLst>
              <a:ext uri="{FF2B5EF4-FFF2-40B4-BE49-F238E27FC236}">
                <a16:creationId xmlns:a16="http://schemas.microsoft.com/office/drawing/2014/main" id="{2BB8FFD0-B7BB-463F-C2E7-E4CAB23D73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52400" y="7295649"/>
            <a:ext cx="3298980" cy="169277"/>
          </a:xfrm>
        </p:spPr>
        <p:txBody>
          <a:bodyPr/>
          <a:lstStyle/>
          <a:p>
            <a:pPr>
              <a:defRPr/>
            </a:pPr>
            <a:r>
              <a:rPr lang="de-DE" dirty="0"/>
              <a:t>Meng, </a:t>
            </a:r>
            <a:r>
              <a:rPr lang="de-DE" dirty="0" err="1"/>
              <a:t>Xiangyuan</a:t>
            </a:r>
            <a:r>
              <a:rPr lang="de-DE" dirty="0"/>
              <a:t> and Tang, Wenwu – 07.02.2023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6978341A-DE3E-EE87-DB94-488D997E05E3}"/>
              </a:ext>
            </a:extLst>
          </p:cNvPr>
          <p:cNvSpPr txBox="1"/>
          <p:nvPr/>
        </p:nvSpPr>
        <p:spPr>
          <a:xfrm>
            <a:off x="719832" y="4811003"/>
            <a:ext cx="8280920" cy="62581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kumimoji="1" lang="de-DE" altLang="zh-CN" dirty="0">
                <a:latin typeface="Calibri" panose="020F0502020204030204" pitchFamily="34" charset="0"/>
                <a:cs typeface="Calibri" panose="020F0502020204030204" pitchFamily="34" charset="0"/>
              </a:rPr>
              <a:t>The number and the duration of samples for dynamic activities (labels 7-12) are much smaller than that for static activities! It‘s an imbalanced data set.</a:t>
            </a:r>
            <a:endParaRPr kumimoji="1" lang="zh-CN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6139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598A15B-3758-87F9-4CF4-22A7887CB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Model</a:t>
            </a:r>
            <a:r>
              <a:rPr kumimoji="1" lang="zh-CN" altLang="en-US" dirty="0"/>
              <a:t> </a:t>
            </a:r>
            <a:r>
              <a:rPr kumimoji="1" lang="en-US" altLang="zh-CN" dirty="0"/>
              <a:t>Architecture</a:t>
            </a:r>
            <a:endParaRPr kumimoji="1" lang="zh-CN" altLang="en-US" dirty="0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B88C96F-E276-2B32-B8F5-A18947C48A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52400" y="7295649"/>
            <a:ext cx="3298980" cy="169277"/>
          </a:xfrm>
        </p:spPr>
        <p:txBody>
          <a:bodyPr/>
          <a:lstStyle/>
          <a:p>
            <a:pPr>
              <a:defRPr/>
            </a:pPr>
            <a:r>
              <a:rPr lang="de-DE" dirty="0"/>
              <a:t>Meng, </a:t>
            </a:r>
            <a:r>
              <a:rPr lang="de-DE" dirty="0" err="1"/>
              <a:t>Xiangyuan</a:t>
            </a:r>
            <a:r>
              <a:rPr lang="de-DE" dirty="0"/>
              <a:t> and Tang, Wenwu – 07.02.2023</a:t>
            </a:r>
          </a:p>
        </p:txBody>
      </p:sp>
      <p:graphicFrame>
        <p:nvGraphicFramePr>
          <p:cNvPr id="5" name="图示 4">
            <a:extLst>
              <a:ext uri="{FF2B5EF4-FFF2-40B4-BE49-F238E27FC236}">
                <a16:creationId xmlns:a16="http://schemas.microsoft.com/office/drawing/2014/main" id="{B05C3E2A-A8FB-2ED9-17EB-2947A6FBDFC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94698042"/>
              </p:ext>
            </p:extLst>
          </p:nvPr>
        </p:nvGraphicFramePr>
        <p:xfrm>
          <a:off x="792961" y="1263978"/>
          <a:ext cx="3455263" cy="57570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7" name="图示 6">
            <a:extLst>
              <a:ext uri="{FF2B5EF4-FFF2-40B4-BE49-F238E27FC236}">
                <a16:creationId xmlns:a16="http://schemas.microsoft.com/office/drawing/2014/main" id="{4D27D193-8774-9F6C-9234-5F452182E85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49806480"/>
              </p:ext>
            </p:extLst>
          </p:nvPr>
        </p:nvGraphicFramePr>
        <p:xfrm>
          <a:off x="5830269" y="1269643"/>
          <a:ext cx="3386507" cy="42509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8" name="文本框 7">
            <a:extLst>
              <a:ext uri="{FF2B5EF4-FFF2-40B4-BE49-F238E27FC236}">
                <a16:creationId xmlns:a16="http://schemas.microsoft.com/office/drawing/2014/main" id="{036ECD85-DEC1-CAF7-74C4-3C8FF6F24A35}"/>
              </a:ext>
            </a:extLst>
          </p:cNvPr>
          <p:cNvSpPr txBox="1"/>
          <p:nvPr/>
        </p:nvSpPr>
        <p:spPr>
          <a:xfrm>
            <a:off x="2139718" y="747003"/>
            <a:ext cx="687432" cy="359073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kumimoji="1" lang="de-DE" altLang="zh-CN" b="1" dirty="0">
                <a:latin typeface="Calibri" panose="020F0502020204030204" pitchFamily="34" charset="0"/>
                <a:cs typeface="Calibri" panose="020F0502020204030204" pitchFamily="34" charset="0"/>
              </a:rPr>
              <a:t>LSTM</a:t>
            </a:r>
            <a:endParaRPr kumimoji="1" lang="zh-CN" alt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3D78DA2-6593-EEC7-5CD1-43A19325429B}"/>
              </a:ext>
            </a:extLst>
          </p:cNvPr>
          <p:cNvSpPr txBox="1"/>
          <p:nvPr/>
        </p:nvSpPr>
        <p:spPr>
          <a:xfrm>
            <a:off x="7197952" y="756295"/>
            <a:ext cx="596638" cy="359073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kumimoji="1" lang="de-DE" altLang="zh-CN" b="1" dirty="0">
                <a:latin typeface="Calibri" panose="020F0502020204030204" pitchFamily="34" charset="0"/>
                <a:cs typeface="Calibri" panose="020F0502020204030204" pitchFamily="34" charset="0"/>
              </a:rPr>
              <a:t>GRU</a:t>
            </a:r>
            <a:endParaRPr kumimoji="1" lang="zh-CN" alt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89541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D387FF2-E3E0-045B-EB15-66FB1C0E41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52400" y="7295649"/>
            <a:ext cx="3752630" cy="169277"/>
          </a:xfrm>
        </p:spPr>
        <p:txBody>
          <a:bodyPr/>
          <a:lstStyle/>
          <a:p>
            <a:pPr>
              <a:defRPr/>
            </a:pPr>
            <a:r>
              <a:rPr lang="de-DE" dirty="0"/>
              <a:t>Team 08: </a:t>
            </a:r>
            <a:r>
              <a:rPr lang="de-DE" dirty="0" err="1"/>
              <a:t>Xiangyuan</a:t>
            </a:r>
            <a:r>
              <a:rPr lang="de-DE" dirty="0"/>
              <a:t> Meng and Wenwu Tang, 07.02.2023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8D1C690-E698-F1A5-58BB-8C3FB443DB37}"/>
              </a:ext>
            </a:extLst>
          </p:cNvPr>
          <p:cNvSpPr/>
          <p:nvPr/>
        </p:nvSpPr>
        <p:spPr bwMode="auto">
          <a:xfrm>
            <a:off x="0" y="1908423"/>
            <a:ext cx="10080625" cy="4752528"/>
          </a:xfrm>
          <a:prstGeom prst="rect">
            <a:avLst/>
          </a:prstGeom>
          <a:solidFill>
            <a:srgbClr val="010080"/>
          </a:solidFill>
          <a:ln w="25400" cap="flat" cmpd="sng" algn="ctr">
            <a:solidFill>
              <a:srgbClr val="010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600" b="0" i="0" u="none" strike="noStrike" cap="none" normalizeH="0" baseline="-25000" dirty="0">
              <a:ln>
                <a:solidFill>
                  <a:srgbClr val="06007F"/>
                </a:solidFill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3" name="椭圆 2">
            <a:extLst>
              <a:ext uri="{FF2B5EF4-FFF2-40B4-BE49-F238E27FC236}">
                <a16:creationId xmlns:a16="http://schemas.microsoft.com/office/drawing/2014/main" id="{9C2A2408-32BA-401A-87E8-F3B3DC6CBA0E}"/>
              </a:ext>
            </a:extLst>
          </p:cNvPr>
          <p:cNvSpPr/>
          <p:nvPr/>
        </p:nvSpPr>
        <p:spPr bwMode="auto">
          <a:xfrm>
            <a:off x="5328344" y="1764407"/>
            <a:ext cx="3384376" cy="3384000"/>
          </a:xfrm>
          <a:prstGeom prst="ellipse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600" b="0" i="0" u="none" strike="noStrike" cap="none" normalizeH="0" baseline="-25000" dirty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233DAA0A-05E1-0FE8-73B4-94965E9F46B6}"/>
              </a:ext>
            </a:extLst>
          </p:cNvPr>
          <p:cNvSpPr txBox="1"/>
          <p:nvPr/>
        </p:nvSpPr>
        <p:spPr>
          <a:xfrm>
            <a:off x="287784" y="944106"/>
            <a:ext cx="7593938" cy="50270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4000" dirty="0">
                <a:latin typeface="Calibri" panose="020F0502020204030204" pitchFamily="34" charset="0"/>
                <a:cs typeface="Calibri" panose="020F0502020204030204" pitchFamily="34" charset="0"/>
              </a:rPr>
              <a:t>Deep</a:t>
            </a:r>
            <a:r>
              <a:rPr kumimoji="1" lang="zh-CN" altLang="en-US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4000" dirty="0">
                <a:latin typeface="Calibri" panose="020F0502020204030204" pitchFamily="34" charset="0"/>
                <a:cs typeface="Calibri" panose="020F0502020204030204" pitchFamily="34" charset="0"/>
              </a:rPr>
              <a:t>Learning</a:t>
            </a:r>
            <a:r>
              <a:rPr kumimoji="1" lang="zh-CN" altLang="en-US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4000" dirty="0">
                <a:latin typeface="Calibri" panose="020F0502020204030204" pitchFamily="34" charset="0"/>
                <a:cs typeface="Calibri" panose="020F0502020204030204" pitchFamily="34" charset="0"/>
              </a:rPr>
              <a:t>Lab: </a:t>
            </a:r>
            <a:r>
              <a:rPr lang="en-US" altLang="zh-CN" sz="4000" dirty="0">
                <a:latin typeface="Calibri" panose="020F0502020204030204" pitchFamily="34" charset="0"/>
                <a:cs typeface="Calibri" panose="020F0502020204030204" pitchFamily="34" charset="0"/>
              </a:rPr>
              <a:t>HUMAN ACTIVITY RECOGNITION </a:t>
            </a:r>
            <a:r>
              <a:rPr kumimoji="1" lang="en-US" altLang="zh-CN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kumimoji="1" lang="zh-CN" altLang="en-US" sz="4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7D20B203-C341-2A21-E0F9-B0B33AE78826}"/>
              </a:ext>
            </a:extLst>
          </p:cNvPr>
          <p:cNvSpPr txBox="1"/>
          <p:nvPr/>
        </p:nvSpPr>
        <p:spPr>
          <a:xfrm>
            <a:off x="359792" y="3205056"/>
            <a:ext cx="3744415" cy="913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de-DE" altLang="zh-CN" sz="4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. Training </a:t>
            </a:r>
            <a:r>
              <a:rPr kumimoji="1" lang="de-DE" altLang="zh-CN" sz="4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cess</a:t>
            </a:r>
            <a:endParaRPr kumimoji="1" lang="de-DE" altLang="zh-CN" sz="4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zh-CN" altLang="en-US" sz="4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58169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598A15B-3758-87F9-4CF4-22A7887CB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Train</a:t>
            </a:r>
            <a:r>
              <a:rPr kumimoji="1" lang="zh-CN" altLang="en-US" dirty="0"/>
              <a:t> </a:t>
            </a:r>
            <a:r>
              <a:rPr kumimoji="1" lang="de-DE" altLang="zh-CN" dirty="0"/>
              <a:t>and </a:t>
            </a:r>
            <a:r>
              <a:rPr kumimoji="1" lang="en-US" altLang="zh-CN" dirty="0"/>
              <a:t>validation</a:t>
            </a:r>
            <a:r>
              <a:rPr kumimoji="1" lang="de-DE" altLang="zh-CN" dirty="0"/>
              <a:t> </a:t>
            </a:r>
            <a:r>
              <a:rPr kumimoji="1" lang="en-GB" altLang="zh-CN" dirty="0"/>
              <a:t>accuracy</a:t>
            </a:r>
            <a:r>
              <a:rPr kumimoji="1" lang="de-DE" altLang="zh-CN" dirty="0"/>
              <a:t> on HAPT</a:t>
            </a:r>
            <a:r>
              <a:rPr kumimoji="1" lang="zh-CN" altLang="en-US" dirty="0"/>
              <a:t> </a:t>
            </a:r>
            <a:br>
              <a:rPr kumimoji="1" lang="zh-CN" altLang="en-US" dirty="0"/>
            </a:br>
            <a:endParaRPr kumimoji="1" lang="zh-CN" altLang="en-US" dirty="0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B88C96F-E276-2B32-B8F5-A18947C48A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52400" y="7295649"/>
            <a:ext cx="3298980" cy="169277"/>
          </a:xfrm>
        </p:spPr>
        <p:txBody>
          <a:bodyPr/>
          <a:lstStyle/>
          <a:p>
            <a:pPr>
              <a:defRPr/>
            </a:pPr>
            <a:r>
              <a:rPr lang="de-DE" dirty="0"/>
              <a:t>Meng, </a:t>
            </a:r>
            <a:r>
              <a:rPr lang="de-DE" dirty="0" err="1"/>
              <a:t>Xiangyuan</a:t>
            </a:r>
            <a:r>
              <a:rPr lang="de-DE" dirty="0"/>
              <a:t> and Tang, Wenwu – 07.02.2023</a:t>
            </a:r>
          </a:p>
        </p:txBody>
      </p:sp>
      <p:pic>
        <p:nvPicPr>
          <p:cNvPr id="5" name="图片 4" descr="图表, 折线图&#10;&#10;描述已自动生成">
            <a:extLst>
              <a:ext uri="{FF2B5EF4-FFF2-40B4-BE49-F238E27FC236}">
                <a16:creationId xmlns:a16="http://schemas.microsoft.com/office/drawing/2014/main" id="{38479EEB-C7B9-F500-8D00-EB834A2D9B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444" t="13647" r="5880" b="57333"/>
          <a:stretch/>
        </p:blipFill>
        <p:spPr>
          <a:xfrm>
            <a:off x="451369" y="1244983"/>
            <a:ext cx="4101701" cy="2543219"/>
          </a:xfrm>
          <a:prstGeom prst="rect">
            <a:avLst/>
          </a:prstGeom>
        </p:spPr>
      </p:pic>
      <p:pic>
        <p:nvPicPr>
          <p:cNvPr id="6" name="图片 5" descr="图表, 折线图&#10;&#10;描述已自动生成">
            <a:extLst>
              <a:ext uri="{FF2B5EF4-FFF2-40B4-BE49-F238E27FC236}">
                <a16:creationId xmlns:a16="http://schemas.microsoft.com/office/drawing/2014/main" id="{C4FC4E77-C852-04F5-BC9E-DB0DEA685F8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277" t="13647" r="6805" b="57333"/>
          <a:stretch/>
        </p:blipFill>
        <p:spPr>
          <a:xfrm>
            <a:off x="562117" y="4329113"/>
            <a:ext cx="4046147" cy="2547862"/>
          </a:xfrm>
          <a:prstGeom prst="rect">
            <a:avLst/>
          </a:prstGeom>
        </p:spPr>
      </p:pic>
      <p:cxnSp>
        <p:nvCxnSpPr>
          <p:cNvPr id="7" name="直线连接符 6">
            <a:extLst>
              <a:ext uri="{FF2B5EF4-FFF2-40B4-BE49-F238E27FC236}">
                <a16:creationId xmlns:a16="http://schemas.microsoft.com/office/drawing/2014/main" id="{9401B286-79F7-01C7-1248-7CFD3A353989}"/>
              </a:ext>
            </a:extLst>
          </p:cNvPr>
          <p:cNvCxnSpPr>
            <a:cxnSpLocks/>
          </p:cNvCxnSpPr>
          <p:nvPr/>
        </p:nvCxnSpPr>
        <p:spPr>
          <a:xfrm>
            <a:off x="3384128" y="2888777"/>
            <a:ext cx="360000" cy="0"/>
          </a:xfrm>
          <a:prstGeom prst="line">
            <a:avLst/>
          </a:prstGeom>
          <a:ln w="25400">
            <a:solidFill>
              <a:srgbClr val="CC311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本框 8">
            <a:extLst>
              <a:ext uri="{FF2B5EF4-FFF2-40B4-BE49-F238E27FC236}">
                <a16:creationId xmlns:a16="http://schemas.microsoft.com/office/drawing/2014/main" id="{3280ED30-93F9-BF9A-BD7D-CE65E55A68F6}"/>
              </a:ext>
            </a:extLst>
          </p:cNvPr>
          <p:cNvSpPr txBox="1"/>
          <p:nvPr/>
        </p:nvSpPr>
        <p:spPr>
          <a:xfrm>
            <a:off x="3744168" y="2700511"/>
            <a:ext cx="5677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de-DE" altLang="zh-CN" sz="1800" dirty="0">
                <a:latin typeface="Calibri" panose="020F0502020204030204" pitchFamily="34" charset="0"/>
                <a:cs typeface="Calibri" panose="020F0502020204030204" pitchFamily="34" charset="0"/>
              </a:rPr>
              <a:t>Train</a:t>
            </a:r>
            <a:endParaRPr kumimoji="1" lang="zh-CN" alt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0" name="直线连接符 9">
            <a:extLst>
              <a:ext uri="{FF2B5EF4-FFF2-40B4-BE49-F238E27FC236}">
                <a16:creationId xmlns:a16="http://schemas.microsoft.com/office/drawing/2014/main" id="{C00FC2E6-61D3-094F-4427-0A6975B7F0B4}"/>
              </a:ext>
            </a:extLst>
          </p:cNvPr>
          <p:cNvCxnSpPr>
            <a:cxnSpLocks/>
          </p:cNvCxnSpPr>
          <p:nvPr/>
        </p:nvCxnSpPr>
        <p:spPr>
          <a:xfrm>
            <a:off x="3389226" y="3224896"/>
            <a:ext cx="360000" cy="0"/>
          </a:xfrm>
          <a:prstGeom prst="line">
            <a:avLst/>
          </a:prstGeom>
          <a:ln w="25400">
            <a:solidFill>
              <a:srgbClr val="32BBE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文本框 10">
            <a:extLst>
              <a:ext uri="{FF2B5EF4-FFF2-40B4-BE49-F238E27FC236}">
                <a16:creationId xmlns:a16="http://schemas.microsoft.com/office/drawing/2014/main" id="{28B398F2-C2E2-74FA-1DE8-B0E5FCC5FEEA}"/>
              </a:ext>
            </a:extLst>
          </p:cNvPr>
          <p:cNvSpPr txBox="1"/>
          <p:nvPr/>
        </p:nvSpPr>
        <p:spPr>
          <a:xfrm>
            <a:off x="3749266" y="3057149"/>
            <a:ext cx="9573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de-DE" altLang="zh-CN" sz="1800" dirty="0">
                <a:latin typeface="Calibri" panose="020F0502020204030204" pitchFamily="34" charset="0"/>
                <a:cs typeface="Calibri" panose="020F0502020204030204" pitchFamily="34" charset="0"/>
              </a:rPr>
              <a:t>Validation</a:t>
            </a:r>
            <a:endParaRPr kumimoji="1" lang="zh-CN" alt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2" name="直线连接符 11">
            <a:extLst>
              <a:ext uri="{FF2B5EF4-FFF2-40B4-BE49-F238E27FC236}">
                <a16:creationId xmlns:a16="http://schemas.microsoft.com/office/drawing/2014/main" id="{E6AD20C0-3A7D-76E6-85A5-0DB40FA85B9B}"/>
              </a:ext>
            </a:extLst>
          </p:cNvPr>
          <p:cNvCxnSpPr/>
          <p:nvPr/>
        </p:nvCxnSpPr>
        <p:spPr>
          <a:xfrm>
            <a:off x="3440374" y="5940473"/>
            <a:ext cx="360000" cy="0"/>
          </a:xfrm>
          <a:prstGeom prst="line">
            <a:avLst/>
          </a:prstGeom>
          <a:ln w="25400">
            <a:solidFill>
              <a:srgbClr val="EE2E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文本框 12">
            <a:extLst>
              <a:ext uri="{FF2B5EF4-FFF2-40B4-BE49-F238E27FC236}">
                <a16:creationId xmlns:a16="http://schemas.microsoft.com/office/drawing/2014/main" id="{AE3C0BCA-4B82-6656-A27A-E40EA07539BC}"/>
              </a:ext>
            </a:extLst>
          </p:cNvPr>
          <p:cNvSpPr txBox="1"/>
          <p:nvPr/>
        </p:nvSpPr>
        <p:spPr>
          <a:xfrm>
            <a:off x="3800414" y="5786584"/>
            <a:ext cx="4893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de-DE" altLang="zh-CN" sz="1800" dirty="0">
                <a:latin typeface="Calibri" panose="020F0502020204030204" pitchFamily="34" charset="0"/>
                <a:cs typeface="Calibri" panose="020F0502020204030204" pitchFamily="34" charset="0"/>
              </a:rPr>
              <a:t>Train</a:t>
            </a:r>
            <a:endParaRPr kumimoji="1" lang="zh-CN" alt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4" name="直线连接符 13">
            <a:extLst>
              <a:ext uri="{FF2B5EF4-FFF2-40B4-BE49-F238E27FC236}">
                <a16:creationId xmlns:a16="http://schemas.microsoft.com/office/drawing/2014/main" id="{D475151F-E521-64FC-BB71-A66404566263}"/>
              </a:ext>
            </a:extLst>
          </p:cNvPr>
          <p:cNvCxnSpPr/>
          <p:nvPr/>
        </p:nvCxnSpPr>
        <p:spPr>
          <a:xfrm>
            <a:off x="3440414" y="6321488"/>
            <a:ext cx="360000" cy="0"/>
          </a:xfrm>
          <a:prstGeom prst="line">
            <a:avLst/>
          </a:prstGeom>
          <a:ln w="25400">
            <a:solidFill>
              <a:srgbClr val="0099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文本框 14">
            <a:extLst>
              <a:ext uri="{FF2B5EF4-FFF2-40B4-BE49-F238E27FC236}">
                <a16:creationId xmlns:a16="http://schemas.microsoft.com/office/drawing/2014/main" id="{80192640-4DD3-C117-119B-E75E5E74225C}"/>
              </a:ext>
            </a:extLst>
          </p:cNvPr>
          <p:cNvSpPr txBox="1"/>
          <p:nvPr/>
        </p:nvSpPr>
        <p:spPr>
          <a:xfrm>
            <a:off x="3800414" y="6135312"/>
            <a:ext cx="80785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de-DE" altLang="zh-CN" sz="1800" dirty="0">
                <a:latin typeface="Calibri" panose="020F0502020204030204" pitchFamily="34" charset="0"/>
                <a:cs typeface="Calibri" panose="020F0502020204030204" pitchFamily="34" charset="0"/>
              </a:rPr>
              <a:t>Validation</a:t>
            </a:r>
            <a:endParaRPr kumimoji="1" lang="zh-CN" alt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85F57676-FE32-6462-F7C5-10DFA1287463}"/>
              </a:ext>
            </a:extLst>
          </p:cNvPr>
          <p:cNvSpPr txBox="1"/>
          <p:nvPr/>
        </p:nvSpPr>
        <p:spPr>
          <a:xfrm>
            <a:off x="2224856" y="828303"/>
            <a:ext cx="1308658" cy="3590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de-DE" altLang="zh-CN" b="1" dirty="0">
                <a:latin typeface="Calibri" panose="020F0502020204030204" pitchFamily="34" charset="0"/>
                <a:cs typeface="Calibri" panose="020F0502020204030204" pitchFamily="34" charset="0"/>
              </a:rPr>
              <a:t>LSTM</a:t>
            </a:r>
            <a:endParaRPr kumimoji="1" lang="zh-CN" alt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26B78811-B04C-9272-03CE-A63F251381B7}"/>
              </a:ext>
            </a:extLst>
          </p:cNvPr>
          <p:cNvSpPr txBox="1"/>
          <p:nvPr/>
        </p:nvSpPr>
        <p:spPr>
          <a:xfrm>
            <a:off x="4177827" y="3488137"/>
            <a:ext cx="6046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de-DE" altLang="zh-CN" sz="1800" dirty="0">
                <a:latin typeface="Calibri" panose="020F0502020204030204" pitchFamily="34" charset="0"/>
                <a:cs typeface="Calibri" panose="020F0502020204030204" pitchFamily="34" charset="0"/>
              </a:rPr>
              <a:t>Steps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D2E046AB-1803-F54A-B523-62ED004D8E1B}"/>
              </a:ext>
            </a:extLst>
          </p:cNvPr>
          <p:cNvSpPr txBox="1"/>
          <p:nvPr/>
        </p:nvSpPr>
        <p:spPr>
          <a:xfrm>
            <a:off x="215776" y="1100847"/>
            <a:ext cx="8531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de-DE" altLang="zh-CN" sz="1800" dirty="0">
                <a:latin typeface="Calibri" panose="020F0502020204030204" pitchFamily="34" charset="0"/>
                <a:cs typeface="Calibri" panose="020F0502020204030204" pitchFamily="34" charset="0"/>
              </a:rPr>
              <a:t>accuracy</a:t>
            </a:r>
            <a:endParaRPr kumimoji="1"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741652DD-9F92-BAC1-B9FE-5BC809AB73D5}"/>
              </a:ext>
            </a:extLst>
          </p:cNvPr>
          <p:cNvSpPr txBox="1"/>
          <p:nvPr/>
        </p:nvSpPr>
        <p:spPr>
          <a:xfrm>
            <a:off x="4363651" y="6568448"/>
            <a:ext cx="6046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de-DE" altLang="zh-CN" sz="1800" dirty="0">
                <a:latin typeface="Calibri" panose="020F0502020204030204" pitchFamily="34" charset="0"/>
                <a:cs typeface="Calibri" panose="020F0502020204030204" pitchFamily="34" charset="0"/>
              </a:rPr>
              <a:t>Steps</a:t>
            </a: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C778E032-1A20-2FF3-481A-526C68382B3C}"/>
              </a:ext>
            </a:extLst>
          </p:cNvPr>
          <p:cNvSpPr txBox="1"/>
          <p:nvPr/>
        </p:nvSpPr>
        <p:spPr>
          <a:xfrm>
            <a:off x="359792" y="4192184"/>
            <a:ext cx="8531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de-DE" altLang="zh-CN" sz="1800" dirty="0">
                <a:latin typeface="Calibri" panose="020F0502020204030204" pitchFamily="34" charset="0"/>
                <a:cs typeface="Calibri" panose="020F0502020204030204" pitchFamily="34" charset="0"/>
              </a:rPr>
              <a:t>accuracy</a:t>
            </a:r>
            <a:endParaRPr kumimoji="1" lang="zh-CN" alt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856CE1B7-A5F6-3332-7E18-223D98FE89F7}"/>
              </a:ext>
            </a:extLst>
          </p:cNvPr>
          <p:cNvSpPr txBox="1"/>
          <p:nvPr/>
        </p:nvSpPr>
        <p:spPr>
          <a:xfrm>
            <a:off x="2340037" y="3947833"/>
            <a:ext cx="1308658" cy="3590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de-DE" altLang="zh-CN" b="1" dirty="0">
                <a:latin typeface="Calibri" panose="020F0502020204030204" pitchFamily="34" charset="0"/>
                <a:cs typeface="Calibri" panose="020F0502020204030204" pitchFamily="34" charset="0"/>
              </a:rPr>
              <a:t>GRU</a:t>
            </a:r>
            <a:endParaRPr kumimoji="1" lang="zh-CN" alt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6A925F2E-CD76-587B-1651-EE77CF3B0FD7}"/>
              </a:ext>
            </a:extLst>
          </p:cNvPr>
          <p:cNvSpPr txBox="1"/>
          <p:nvPr/>
        </p:nvSpPr>
        <p:spPr>
          <a:xfrm>
            <a:off x="7128544" y="8389143"/>
            <a:ext cx="2448259" cy="14260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>
                <a:latin typeface="Calibri" panose="020F0502020204030204" pitchFamily="34" charset="0"/>
                <a:cs typeface="Calibri" panose="020F0502020204030204" pitchFamily="34" charset="0"/>
              </a:rPr>
              <a:t>The convergence rates of both neural networks are very similar and both stabilize after about a thousand steps.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080F1BA4-0559-D4E1-663D-A01161F82761}"/>
              </a:ext>
            </a:extLst>
          </p:cNvPr>
          <p:cNvSpPr txBox="1"/>
          <p:nvPr/>
        </p:nvSpPr>
        <p:spPr>
          <a:xfrm>
            <a:off x="5176600" y="1167815"/>
            <a:ext cx="4904026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60000"/>
            <a:r>
              <a:rPr lang="de-DE" altLang="zh-CN" dirty="0">
                <a:effectLst/>
                <a:latin typeface="Helvetica Neue" panose="02000503000000020004" pitchFamily="2" charset="0"/>
              </a:rPr>
              <a:t>Final </a:t>
            </a:r>
            <a:r>
              <a:rPr lang="de-DE" altLang="zh-CN" dirty="0" err="1">
                <a:effectLst/>
                <a:latin typeface="Helvetica Neue" panose="02000503000000020004" pitchFamily="2" charset="0"/>
              </a:rPr>
              <a:t>Results</a:t>
            </a:r>
            <a:r>
              <a:rPr lang="de-DE" altLang="zh-CN" dirty="0">
                <a:effectLst/>
                <a:latin typeface="Helvetica Neue" panose="02000503000000020004" pitchFamily="2" charset="0"/>
              </a:rPr>
              <a:t>: 	Train-</a:t>
            </a:r>
            <a:r>
              <a:rPr lang="de-DE" altLang="zh-CN" dirty="0" err="1">
                <a:effectLst/>
                <a:latin typeface="Helvetica Neue" panose="02000503000000020004" pitchFamily="2" charset="0"/>
              </a:rPr>
              <a:t>Acc</a:t>
            </a:r>
            <a:r>
              <a:rPr lang="de-DE" altLang="zh-CN" dirty="0">
                <a:effectLst/>
                <a:latin typeface="Helvetica Neue" panose="02000503000000020004" pitchFamily="2" charset="0"/>
              </a:rPr>
              <a:t> 		= 95,21%</a:t>
            </a:r>
          </a:p>
          <a:p>
            <a:pPr defTabSz="360000"/>
            <a:r>
              <a:rPr lang="de-DE" altLang="zh-CN" dirty="0">
                <a:effectLst/>
                <a:latin typeface="Helvetica Neue" panose="02000503000000020004" pitchFamily="2" charset="0"/>
              </a:rPr>
              <a:t>				Val-</a:t>
            </a:r>
            <a:r>
              <a:rPr lang="de-DE" altLang="zh-CN" dirty="0" err="1">
                <a:effectLst/>
                <a:latin typeface="Helvetica Neue" panose="02000503000000020004" pitchFamily="2" charset="0"/>
              </a:rPr>
              <a:t>Acc</a:t>
            </a:r>
            <a:r>
              <a:rPr lang="de-DE" altLang="zh-CN" dirty="0">
                <a:effectLst/>
                <a:latin typeface="Helvetica Neue" panose="02000503000000020004" pitchFamily="2" charset="0"/>
              </a:rPr>
              <a:t> 		= 82,55%</a:t>
            </a:r>
          </a:p>
          <a:p>
            <a:pPr defTabSz="360000"/>
            <a:r>
              <a:rPr lang="de-DE" altLang="zh-CN" dirty="0">
                <a:effectLst/>
                <a:latin typeface="Helvetica Neue" panose="02000503000000020004" pitchFamily="2" charset="0"/>
              </a:rPr>
              <a:t>				Training time 	= 9m55s</a:t>
            </a:r>
          </a:p>
          <a:p>
            <a:pPr defTabSz="360000"/>
            <a:br>
              <a:rPr lang="de-DE" altLang="zh-CN" dirty="0">
                <a:effectLst/>
                <a:latin typeface="Helvetica Neue" panose="02000503000000020004" pitchFamily="2" charset="0"/>
              </a:rPr>
            </a:br>
            <a:endParaRPr lang="de-DE" altLang="zh-CN" dirty="0">
              <a:effectLst/>
              <a:latin typeface="Helvetica Neue" panose="02000503000000020004" pitchFamily="2" charset="0"/>
            </a:endParaRPr>
          </a:p>
          <a:p>
            <a:pPr defTabSz="360000"/>
            <a:r>
              <a:rPr lang="de-DE" altLang="zh-CN" dirty="0" err="1">
                <a:effectLst/>
                <a:latin typeface="Helvetica Neue" panose="02000503000000020004" pitchFamily="2" charset="0"/>
              </a:rPr>
              <a:t>Related</a:t>
            </a:r>
            <a:r>
              <a:rPr lang="de-DE" altLang="zh-CN" dirty="0">
                <a:effectLst/>
                <a:latin typeface="Helvetica Neue" panose="02000503000000020004" pitchFamily="2" charset="0"/>
              </a:rPr>
              <a:t> Data: 	Total </a:t>
            </a:r>
            <a:r>
              <a:rPr lang="de-DE" altLang="zh-CN" dirty="0" err="1">
                <a:effectLst/>
                <a:latin typeface="Helvetica Neue" panose="02000503000000020004" pitchFamily="2" charset="0"/>
              </a:rPr>
              <a:t>params</a:t>
            </a:r>
            <a:r>
              <a:rPr lang="de-DE" altLang="zh-CN" dirty="0">
                <a:effectLst/>
                <a:latin typeface="Helvetica Neue" panose="02000503000000020004" pitchFamily="2" charset="0"/>
              </a:rPr>
              <a:t>: 61,068</a:t>
            </a:r>
          </a:p>
          <a:p>
            <a:pPr defTabSz="360000"/>
            <a:r>
              <a:rPr lang="de-DE" altLang="zh-CN" dirty="0">
                <a:effectLst/>
                <a:latin typeface="Helvetica Neue" panose="02000503000000020004" pitchFamily="2" charset="0"/>
              </a:rPr>
              <a:t>				</a:t>
            </a:r>
            <a:r>
              <a:rPr lang="de-DE" altLang="zh-CN" dirty="0" err="1">
                <a:effectLst/>
                <a:latin typeface="Helvetica Neue" panose="02000503000000020004" pitchFamily="2" charset="0"/>
              </a:rPr>
              <a:t>Trainable</a:t>
            </a:r>
            <a:r>
              <a:rPr lang="de-DE" altLang="zh-CN" dirty="0">
                <a:effectLst/>
                <a:latin typeface="Helvetica Neue" panose="02000503000000020004" pitchFamily="2" charset="0"/>
              </a:rPr>
              <a:t> </a:t>
            </a:r>
            <a:r>
              <a:rPr lang="de-DE" altLang="zh-CN" dirty="0" err="1">
                <a:effectLst/>
                <a:latin typeface="Helvetica Neue" panose="02000503000000020004" pitchFamily="2" charset="0"/>
              </a:rPr>
              <a:t>params</a:t>
            </a:r>
            <a:r>
              <a:rPr lang="de-DE" altLang="zh-CN" dirty="0">
                <a:effectLst/>
                <a:latin typeface="Helvetica Neue" panose="02000503000000020004" pitchFamily="2" charset="0"/>
              </a:rPr>
              <a:t>: 60,812</a:t>
            </a:r>
          </a:p>
          <a:p>
            <a:pPr defTabSz="360000"/>
            <a:r>
              <a:rPr lang="de-DE" altLang="zh-CN" dirty="0">
                <a:effectLst/>
                <a:latin typeface="Helvetica Neue" panose="02000503000000020004" pitchFamily="2" charset="0"/>
              </a:rPr>
              <a:t>				Non-</a:t>
            </a:r>
            <a:r>
              <a:rPr lang="de-DE" altLang="zh-CN" dirty="0" err="1">
                <a:effectLst/>
                <a:latin typeface="Helvetica Neue" panose="02000503000000020004" pitchFamily="2" charset="0"/>
              </a:rPr>
              <a:t>trainable</a:t>
            </a:r>
            <a:r>
              <a:rPr lang="de-DE" altLang="zh-CN" dirty="0">
                <a:effectLst/>
                <a:latin typeface="Helvetica Neue" panose="02000503000000020004" pitchFamily="2" charset="0"/>
              </a:rPr>
              <a:t> </a:t>
            </a:r>
            <a:r>
              <a:rPr lang="de-DE" altLang="zh-CN" dirty="0" err="1">
                <a:effectLst/>
                <a:latin typeface="Helvetica Neue" panose="02000503000000020004" pitchFamily="2" charset="0"/>
              </a:rPr>
              <a:t>params</a:t>
            </a:r>
            <a:r>
              <a:rPr lang="de-DE" altLang="zh-CN" dirty="0">
                <a:effectLst/>
                <a:latin typeface="Helvetica Neue" panose="02000503000000020004" pitchFamily="2" charset="0"/>
              </a:rPr>
              <a:t>: 256</a:t>
            </a:r>
          </a:p>
          <a:p>
            <a:pPr defTabSz="360000"/>
            <a:endParaRPr kumimoji="1" lang="zh-CN" altLang="en-US" dirty="0"/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D86BB9EB-F5F5-6012-1967-C8F2491212B1}"/>
              </a:ext>
            </a:extLst>
          </p:cNvPr>
          <p:cNvSpPr txBox="1"/>
          <p:nvPr/>
        </p:nvSpPr>
        <p:spPr>
          <a:xfrm>
            <a:off x="5176600" y="4195294"/>
            <a:ext cx="4904026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60000"/>
            <a:r>
              <a:rPr lang="de-DE" altLang="zh-CN" dirty="0">
                <a:effectLst/>
                <a:latin typeface="Helvetica Neue" panose="02000503000000020004" pitchFamily="2" charset="0"/>
              </a:rPr>
              <a:t>Final </a:t>
            </a:r>
            <a:r>
              <a:rPr lang="de-DE" altLang="zh-CN" dirty="0" err="1">
                <a:effectLst/>
                <a:latin typeface="Helvetica Neue" panose="02000503000000020004" pitchFamily="2" charset="0"/>
              </a:rPr>
              <a:t>Results</a:t>
            </a:r>
            <a:r>
              <a:rPr lang="de-DE" altLang="zh-CN" dirty="0">
                <a:effectLst/>
                <a:latin typeface="Helvetica Neue" panose="02000503000000020004" pitchFamily="2" charset="0"/>
              </a:rPr>
              <a:t>: 	Train-</a:t>
            </a:r>
            <a:r>
              <a:rPr lang="de-DE" altLang="zh-CN" dirty="0" err="1">
                <a:effectLst/>
                <a:latin typeface="Helvetica Neue" panose="02000503000000020004" pitchFamily="2" charset="0"/>
              </a:rPr>
              <a:t>Acc</a:t>
            </a:r>
            <a:r>
              <a:rPr lang="de-DE" altLang="zh-CN" dirty="0">
                <a:effectLst/>
                <a:latin typeface="Helvetica Neue" panose="02000503000000020004" pitchFamily="2" charset="0"/>
              </a:rPr>
              <a:t> 		= 97,34%</a:t>
            </a:r>
          </a:p>
          <a:p>
            <a:pPr defTabSz="360000"/>
            <a:r>
              <a:rPr lang="de-DE" altLang="zh-CN" dirty="0">
                <a:effectLst/>
                <a:latin typeface="Helvetica Neue" panose="02000503000000020004" pitchFamily="2" charset="0"/>
              </a:rPr>
              <a:t>				Val-</a:t>
            </a:r>
            <a:r>
              <a:rPr lang="de-DE" altLang="zh-CN" dirty="0" err="1">
                <a:effectLst/>
                <a:latin typeface="Helvetica Neue" panose="02000503000000020004" pitchFamily="2" charset="0"/>
              </a:rPr>
              <a:t>Acc</a:t>
            </a:r>
            <a:r>
              <a:rPr lang="de-DE" altLang="zh-CN" dirty="0">
                <a:effectLst/>
                <a:latin typeface="Helvetica Neue" panose="02000503000000020004" pitchFamily="2" charset="0"/>
              </a:rPr>
              <a:t> 		= 82,80%</a:t>
            </a:r>
          </a:p>
          <a:p>
            <a:pPr defTabSz="360000"/>
            <a:r>
              <a:rPr lang="de-DE" altLang="zh-CN" dirty="0">
                <a:effectLst/>
                <a:latin typeface="Helvetica Neue" panose="02000503000000020004" pitchFamily="2" charset="0"/>
              </a:rPr>
              <a:t>				Training time 	= 15m26s</a:t>
            </a:r>
          </a:p>
          <a:p>
            <a:pPr defTabSz="360000"/>
            <a:br>
              <a:rPr lang="de-DE" altLang="zh-CN" dirty="0">
                <a:effectLst/>
                <a:latin typeface="Helvetica Neue" panose="02000503000000020004" pitchFamily="2" charset="0"/>
              </a:rPr>
            </a:br>
            <a:endParaRPr lang="de-DE" altLang="zh-CN" dirty="0">
              <a:effectLst/>
              <a:latin typeface="Helvetica Neue" panose="02000503000000020004" pitchFamily="2" charset="0"/>
            </a:endParaRPr>
          </a:p>
          <a:p>
            <a:pPr defTabSz="360000"/>
            <a:r>
              <a:rPr lang="de-DE" altLang="zh-CN" dirty="0" err="1">
                <a:effectLst/>
                <a:latin typeface="Helvetica Neue" panose="02000503000000020004" pitchFamily="2" charset="0"/>
              </a:rPr>
              <a:t>Related</a:t>
            </a:r>
            <a:r>
              <a:rPr lang="de-DE" altLang="zh-CN" dirty="0">
                <a:effectLst/>
                <a:latin typeface="Helvetica Neue" panose="02000503000000020004" pitchFamily="2" charset="0"/>
              </a:rPr>
              <a:t> Data: 	Total </a:t>
            </a:r>
            <a:r>
              <a:rPr lang="de-DE" altLang="zh-CN" dirty="0" err="1">
                <a:effectLst/>
                <a:latin typeface="Helvetica Neue" panose="02000503000000020004" pitchFamily="2" charset="0"/>
              </a:rPr>
              <a:t>params</a:t>
            </a:r>
            <a:r>
              <a:rPr lang="de-DE" altLang="zh-CN" dirty="0">
                <a:effectLst/>
                <a:latin typeface="Helvetica Neue" panose="02000503000000020004" pitchFamily="2" charset="0"/>
              </a:rPr>
              <a:t> = 94,412</a:t>
            </a:r>
          </a:p>
          <a:p>
            <a:pPr defTabSz="360000"/>
            <a:r>
              <a:rPr lang="de-DE" altLang="zh-CN" dirty="0">
                <a:effectLst/>
                <a:latin typeface="Helvetica Neue" panose="02000503000000020004" pitchFamily="2" charset="0"/>
              </a:rPr>
              <a:t>				</a:t>
            </a:r>
            <a:r>
              <a:rPr lang="de-DE" altLang="zh-CN" dirty="0" err="1">
                <a:effectLst/>
                <a:latin typeface="Helvetica Neue" panose="02000503000000020004" pitchFamily="2" charset="0"/>
              </a:rPr>
              <a:t>Trainable</a:t>
            </a:r>
            <a:r>
              <a:rPr lang="de-DE" altLang="zh-CN" dirty="0">
                <a:effectLst/>
                <a:latin typeface="Helvetica Neue" panose="02000503000000020004" pitchFamily="2" charset="0"/>
              </a:rPr>
              <a:t> </a:t>
            </a:r>
            <a:r>
              <a:rPr lang="de-DE" altLang="zh-CN" dirty="0" err="1">
                <a:effectLst/>
                <a:latin typeface="Helvetica Neue" panose="02000503000000020004" pitchFamily="2" charset="0"/>
              </a:rPr>
              <a:t>params</a:t>
            </a:r>
            <a:r>
              <a:rPr lang="de-DE" altLang="zh-CN" dirty="0">
                <a:effectLst/>
                <a:latin typeface="Helvetica Neue" panose="02000503000000020004" pitchFamily="2" charset="0"/>
              </a:rPr>
              <a:t> = 94,028</a:t>
            </a:r>
          </a:p>
          <a:p>
            <a:pPr defTabSz="360000"/>
            <a:r>
              <a:rPr lang="de-DE" altLang="zh-CN" dirty="0">
                <a:effectLst/>
                <a:latin typeface="Helvetica Neue" panose="02000503000000020004" pitchFamily="2" charset="0"/>
              </a:rPr>
              <a:t>				Non-</a:t>
            </a:r>
            <a:r>
              <a:rPr lang="de-DE" altLang="zh-CN" dirty="0" err="1">
                <a:effectLst/>
                <a:latin typeface="Helvetica Neue" panose="02000503000000020004" pitchFamily="2" charset="0"/>
              </a:rPr>
              <a:t>trainable</a:t>
            </a:r>
            <a:r>
              <a:rPr lang="de-DE" altLang="zh-CN" dirty="0">
                <a:effectLst/>
                <a:latin typeface="Helvetica Neue" panose="02000503000000020004" pitchFamily="2" charset="0"/>
              </a:rPr>
              <a:t> </a:t>
            </a:r>
            <a:r>
              <a:rPr lang="de-DE" altLang="zh-CN" dirty="0" err="1">
                <a:effectLst/>
                <a:latin typeface="Helvetica Neue" panose="02000503000000020004" pitchFamily="2" charset="0"/>
              </a:rPr>
              <a:t>params</a:t>
            </a:r>
            <a:r>
              <a:rPr lang="de-DE" altLang="zh-CN" dirty="0">
                <a:effectLst/>
                <a:latin typeface="Helvetica Neue" panose="02000503000000020004" pitchFamily="2" charset="0"/>
              </a:rPr>
              <a:t> = 384</a:t>
            </a:r>
          </a:p>
          <a:p>
            <a:pPr defTabSz="360000"/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549632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D387FF2-E3E0-045B-EB15-66FB1C0E41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52400" y="7295649"/>
            <a:ext cx="3752630" cy="169277"/>
          </a:xfrm>
        </p:spPr>
        <p:txBody>
          <a:bodyPr/>
          <a:lstStyle/>
          <a:p>
            <a:pPr>
              <a:defRPr/>
            </a:pPr>
            <a:r>
              <a:rPr lang="de-DE" dirty="0"/>
              <a:t>Team 08: </a:t>
            </a:r>
            <a:r>
              <a:rPr lang="de-DE" dirty="0" err="1"/>
              <a:t>Xiangyuan</a:t>
            </a:r>
            <a:r>
              <a:rPr lang="de-DE" dirty="0"/>
              <a:t> Meng and Wenwu Tang, 07.02.2023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8D1C690-E698-F1A5-58BB-8C3FB443DB37}"/>
              </a:ext>
            </a:extLst>
          </p:cNvPr>
          <p:cNvSpPr/>
          <p:nvPr/>
        </p:nvSpPr>
        <p:spPr bwMode="auto">
          <a:xfrm>
            <a:off x="0" y="1908423"/>
            <a:ext cx="10080625" cy="4752528"/>
          </a:xfrm>
          <a:prstGeom prst="rect">
            <a:avLst/>
          </a:prstGeom>
          <a:solidFill>
            <a:srgbClr val="010080"/>
          </a:solidFill>
          <a:ln w="25400" cap="flat" cmpd="sng" algn="ctr">
            <a:solidFill>
              <a:srgbClr val="010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600" b="0" i="0" u="none" strike="noStrike" cap="none" normalizeH="0" baseline="-25000" dirty="0">
              <a:ln>
                <a:solidFill>
                  <a:srgbClr val="06007F"/>
                </a:solidFill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3" name="椭圆 2">
            <a:extLst>
              <a:ext uri="{FF2B5EF4-FFF2-40B4-BE49-F238E27FC236}">
                <a16:creationId xmlns:a16="http://schemas.microsoft.com/office/drawing/2014/main" id="{9C2A2408-32BA-401A-87E8-F3B3DC6CBA0E}"/>
              </a:ext>
            </a:extLst>
          </p:cNvPr>
          <p:cNvSpPr/>
          <p:nvPr/>
        </p:nvSpPr>
        <p:spPr bwMode="auto">
          <a:xfrm>
            <a:off x="5328344" y="1764407"/>
            <a:ext cx="3384376" cy="3384000"/>
          </a:xfrm>
          <a:prstGeom prst="ellipse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600" b="0" i="0" u="none" strike="noStrike" cap="none" normalizeH="0" baseline="-25000" dirty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233DAA0A-05E1-0FE8-73B4-94965E9F46B6}"/>
              </a:ext>
            </a:extLst>
          </p:cNvPr>
          <p:cNvSpPr txBox="1"/>
          <p:nvPr/>
        </p:nvSpPr>
        <p:spPr>
          <a:xfrm>
            <a:off x="287784" y="944106"/>
            <a:ext cx="7593938" cy="50270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4000" dirty="0">
                <a:latin typeface="Calibri" panose="020F0502020204030204" pitchFamily="34" charset="0"/>
                <a:cs typeface="Calibri" panose="020F0502020204030204" pitchFamily="34" charset="0"/>
              </a:rPr>
              <a:t>Deep</a:t>
            </a:r>
            <a:r>
              <a:rPr kumimoji="1" lang="zh-CN" altLang="en-US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4000" dirty="0">
                <a:latin typeface="Calibri" panose="020F0502020204030204" pitchFamily="34" charset="0"/>
                <a:cs typeface="Calibri" panose="020F0502020204030204" pitchFamily="34" charset="0"/>
              </a:rPr>
              <a:t>Learning</a:t>
            </a:r>
            <a:r>
              <a:rPr kumimoji="1" lang="zh-CN" altLang="en-US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4000" dirty="0">
                <a:latin typeface="Calibri" panose="020F0502020204030204" pitchFamily="34" charset="0"/>
                <a:cs typeface="Calibri" panose="020F0502020204030204" pitchFamily="34" charset="0"/>
              </a:rPr>
              <a:t>Lab: </a:t>
            </a:r>
            <a:r>
              <a:rPr lang="en-US" altLang="zh-CN" sz="4000" dirty="0">
                <a:latin typeface="Calibri" panose="020F0502020204030204" pitchFamily="34" charset="0"/>
                <a:cs typeface="Calibri" panose="020F0502020204030204" pitchFamily="34" charset="0"/>
              </a:rPr>
              <a:t>HUMAN ACTIVITY RECOGNITION </a:t>
            </a:r>
            <a:r>
              <a:rPr kumimoji="1" lang="en-US" altLang="zh-CN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kumimoji="1" lang="zh-CN" altLang="en-US" sz="4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7D20B203-C341-2A21-E0F9-B0B33AE78826}"/>
              </a:ext>
            </a:extLst>
          </p:cNvPr>
          <p:cNvSpPr txBox="1"/>
          <p:nvPr/>
        </p:nvSpPr>
        <p:spPr>
          <a:xfrm>
            <a:off x="359792" y="3205056"/>
            <a:ext cx="3240359" cy="913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de-DE" altLang="zh-CN" sz="4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. </a:t>
            </a:r>
            <a:r>
              <a:rPr kumimoji="1" lang="de-DE" altLang="zh-CN" sz="4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inning</a:t>
            </a:r>
            <a:r>
              <a:rPr kumimoji="1" lang="de-DE" altLang="zh-CN" sz="4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de-DE" altLang="zh-CN" sz="4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ult</a:t>
            </a:r>
            <a:endParaRPr kumimoji="1" lang="de-DE" altLang="zh-CN" sz="4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kumimoji="1" lang="zh-CN" altLang="en-US" sz="4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86168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598A15B-3758-87F9-4CF4-22A7887CB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de-DE" altLang="zh-CN" dirty="0" err="1"/>
              <a:t>Visualisation</a:t>
            </a:r>
            <a:r>
              <a:rPr kumimoji="1" lang="de-DE" altLang="zh-CN" dirty="0"/>
              <a:t> on exp.02 </a:t>
            </a:r>
            <a:r>
              <a:rPr kumimoji="1" lang="de-DE" altLang="zh-CN" dirty="0" err="1"/>
              <a:t>user</a:t>
            </a:r>
            <a:r>
              <a:rPr kumimoji="1" lang="de-DE" altLang="zh-CN" dirty="0"/>
              <a:t> 01 </a:t>
            </a:r>
            <a:r>
              <a:rPr kumimoji="1" lang="de-DE" altLang="zh-CN" dirty="0" err="1"/>
              <a:t>with</a:t>
            </a:r>
            <a:r>
              <a:rPr kumimoji="1" lang="de-DE" altLang="zh-CN" dirty="0"/>
              <a:t> GRU</a:t>
            </a:r>
            <a:endParaRPr kumimoji="1" lang="zh-CN" altLang="en-US" dirty="0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B88C96F-E276-2B32-B8F5-A18947C48A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52400" y="7295649"/>
            <a:ext cx="3298980" cy="169277"/>
          </a:xfrm>
        </p:spPr>
        <p:txBody>
          <a:bodyPr/>
          <a:lstStyle/>
          <a:p>
            <a:pPr>
              <a:defRPr/>
            </a:pPr>
            <a:r>
              <a:rPr lang="de-DE" dirty="0"/>
              <a:t>Meng, </a:t>
            </a:r>
            <a:r>
              <a:rPr lang="de-DE" dirty="0" err="1"/>
              <a:t>Xiangyuan</a:t>
            </a:r>
            <a:r>
              <a:rPr lang="de-DE" dirty="0"/>
              <a:t> and Tang, Wenwu – 07.02.2023</a:t>
            </a:r>
          </a:p>
        </p:txBody>
      </p:sp>
      <p:pic>
        <p:nvPicPr>
          <p:cNvPr id="11" name="图片 10" descr="图表&#10;&#10;描述已自动生成">
            <a:extLst>
              <a:ext uri="{FF2B5EF4-FFF2-40B4-BE49-F238E27FC236}">
                <a16:creationId xmlns:a16="http://schemas.microsoft.com/office/drawing/2014/main" id="{BBD089D1-9746-F87B-4086-D57832B7127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408" r="7210"/>
          <a:stretch/>
        </p:blipFill>
        <p:spPr>
          <a:xfrm>
            <a:off x="720313" y="988144"/>
            <a:ext cx="8640000" cy="2072407"/>
          </a:xfrm>
          <a:prstGeom prst="rect">
            <a:avLst/>
          </a:prstGeom>
        </p:spPr>
      </p:pic>
      <p:pic>
        <p:nvPicPr>
          <p:cNvPr id="12" name="图片 11" descr="图表&#10;&#10;描述已自动生成">
            <a:extLst>
              <a:ext uri="{FF2B5EF4-FFF2-40B4-BE49-F238E27FC236}">
                <a16:creationId xmlns:a16="http://schemas.microsoft.com/office/drawing/2014/main" id="{B16F31B7-9735-8E54-6000-1208B84D23C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264" r="7354"/>
          <a:stretch/>
        </p:blipFill>
        <p:spPr>
          <a:xfrm>
            <a:off x="691834" y="3060551"/>
            <a:ext cx="8640000" cy="2072407"/>
          </a:xfrm>
          <a:prstGeom prst="rect">
            <a:avLst/>
          </a:prstGeom>
        </p:spPr>
      </p:pic>
      <p:pic>
        <p:nvPicPr>
          <p:cNvPr id="13" name="图片 12" descr="图表&#10;&#10;描述已自动生成">
            <a:extLst>
              <a:ext uri="{FF2B5EF4-FFF2-40B4-BE49-F238E27FC236}">
                <a16:creationId xmlns:a16="http://schemas.microsoft.com/office/drawing/2014/main" id="{86CB120D-F9E3-8096-5893-114225ACCBE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068" r="7552"/>
          <a:stretch/>
        </p:blipFill>
        <p:spPr>
          <a:xfrm>
            <a:off x="792800" y="5076775"/>
            <a:ext cx="8640000" cy="2072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471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" val="Standard"/>
</p:tagLst>
</file>

<file path=ppt/theme/theme1.xml><?xml version="1.0" encoding="utf-8"?>
<a:theme xmlns:a="http://schemas.openxmlformats.org/drawingml/2006/main" name="Präsentation 3">
  <a:themeElements>
    <a:clrScheme name="Präsentation 3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Präsentation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080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600" b="0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080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600" b="0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Präsentation 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3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äsentation 3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3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3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3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 3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93</Words>
  <Application>Microsoft Macintosh PowerPoint</Application>
  <PresentationFormat>自定义</PresentationFormat>
  <Paragraphs>123</Paragraphs>
  <Slides>14</Slides>
  <Notes>2</Notes>
  <HiddenSlides>0</HiddenSlides>
  <MMClips>0</MMClips>
  <ScaleCrop>false</ScaleCrop>
  <HeadingPairs>
    <vt:vector size="6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4</vt:i4>
      </vt:variant>
    </vt:vector>
  </HeadingPairs>
  <TitlesOfParts>
    <vt:vector size="22" baseType="lpstr">
      <vt:lpstr>NimbusSanL</vt:lpstr>
      <vt:lpstr>Arial</vt:lpstr>
      <vt:lpstr>Calibri</vt:lpstr>
      <vt:lpstr>Helvetica Neue</vt:lpstr>
      <vt:lpstr>Lucida Sans Unicode</vt:lpstr>
      <vt:lpstr>Times New Roman</vt:lpstr>
      <vt:lpstr>Wingdings</vt:lpstr>
      <vt:lpstr>Präsentation 3</vt:lpstr>
      <vt:lpstr>HUMAN ACTIVITY RECOGNITION </vt:lpstr>
      <vt:lpstr>PowerPoint 演示文稿</vt:lpstr>
      <vt:lpstr>PowerPoint 演示文稿</vt:lpstr>
      <vt:lpstr>Statistics of data from HAPT dataset</vt:lpstr>
      <vt:lpstr>Model Architecture</vt:lpstr>
      <vt:lpstr>PowerPoint 演示文稿</vt:lpstr>
      <vt:lpstr>Train and validation accuracy on HAPT  </vt:lpstr>
      <vt:lpstr>PowerPoint 演示文稿</vt:lpstr>
      <vt:lpstr>Visualisation on exp.02 user 01 with GRU</vt:lpstr>
      <vt:lpstr>Visualisation on exp.02 user 01 with GRU</vt:lpstr>
      <vt:lpstr>Confusion Matrix on HAPT test result</vt:lpstr>
      <vt:lpstr>PowerPoint 演示文稿</vt:lpstr>
      <vt:lpstr>Conclusions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ortrag ITG</dc:title>
  <dc:creator/>
  <cp:lastModifiedBy/>
  <cp:revision>106</cp:revision>
  <dcterms:created xsi:type="dcterms:W3CDTF">2005-01-10T10:03:50Z</dcterms:created>
  <dcterms:modified xsi:type="dcterms:W3CDTF">2023-02-06T20:25:07Z</dcterms:modified>
</cp:coreProperties>
</file>